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tags/tag49.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7.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2.xml" ContentType="application/vnd.openxmlformats-officedocument.presentationml.tags+xml"/>
  <Override PartName="/ppt/charts/chart2.xml" ContentType="application/vnd.openxmlformats-officedocument.drawingml.chart+xml"/>
  <Override PartName="/ppt/tags/tag63.xml" ContentType="application/vnd.openxmlformats-officedocument.presentationml.tags+xml"/>
  <Override PartName="/ppt/charts/chart3.xml" ContentType="application/vnd.openxmlformats-officedocument.drawingml.chart+xml"/>
  <Override PartName="/ppt/theme/themeOverride1.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0.xml" ContentType="application/vnd.openxmlformats-officedocument.presentationml.notesSlide+xml"/>
  <Override PartName="/ppt/tags/tag68.xml" ContentType="application/vnd.openxmlformats-officedocument.presentationml.tags+xml"/>
  <Override PartName="/ppt/notesSlides/notesSlide1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9" r:id="rId2"/>
    <p:sldMasterId id="2147483752" r:id="rId3"/>
    <p:sldMasterId id="2147483756" r:id="rId4"/>
  </p:sldMasterIdLst>
  <p:notesMasterIdLst>
    <p:notesMasterId r:id="rId79"/>
  </p:notesMasterIdLst>
  <p:handoutMasterIdLst>
    <p:handoutMasterId r:id="rId80"/>
  </p:handoutMasterIdLst>
  <p:sldIdLst>
    <p:sldId id="577" r:id="rId5"/>
    <p:sldId id="589" r:id="rId6"/>
    <p:sldId id="590" r:id="rId7"/>
    <p:sldId id="591" r:id="rId8"/>
    <p:sldId id="297" r:id="rId9"/>
    <p:sldId id="450" r:id="rId10"/>
    <p:sldId id="458" r:id="rId11"/>
    <p:sldId id="451" r:id="rId12"/>
    <p:sldId id="583" r:id="rId13"/>
    <p:sldId id="452" r:id="rId14"/>
    <p:sldId id="453" r:id="rId15"/>
    <p:sldId id="454" r:id="rId16"/>
    <p:sldId id="455" r:id="rId17"/>
    <p:sldId id="456" r:id="rId18"/>
    <p:sldId id="588" r:id="rId19"/>
    <p:sldId id="585" r:id="rId20"/>
    <p:sldId id="592" r:id="rId21"/>
    <p:sldId id="593" r:id="rId22"/>
    <p:sldId id="594" r:id="rId23"/>
    <p:sldId id="595" r:id="rId24"/>
    <p:sldId id="596" r:id="rId25"/>
    <p:sldId id="457" r:id="rId26"/>
    <p:sldId id="459" r:id="rId27"/>
    <p:sldId id="582" r:id="rId28"/>
    <p:sldId id="460" r:id="rId29"/>
    <p:sldId id="462" r:id="rId30"/>
    <p:sldId id="584" r:id="rId31"/>
    <p:sldId id="463" r:id="rId32"/>
    <p:sldId id="432" r:id="rId33"/>
    <p:sldId id="433" r:id="rId34"/>
    <p:sldId id="434" r:id="rId35"/>
    <p:sldId id="498" r:id="rId36"/>
    <p:sldId id="517" r:id="rId37"/>
    <p:sldId id="518" r:id="rId38"/>
    <p:sldId id="519" r:id="rId39"/>
    <p:sldId id="520" r:id="rId40"/>
    <p:sldId id="521" r:id="rId41"/>
    <p:sldId id="522" r:id="rId42"/>
    <p:sldId id="523" r:id="rId43"/>
    <p:sldId id="524" r:id="rId44"/>
    <p:sldId id="525" r:id="rId45"/>
    <p:sldId id="526" r:id="rId46"/>
    <p:sldId id="527" r:id="rId47"/>
    <p:sldId id="528" r:id="rId48"/>
    <p:sldId id="561" r:id="rId49"/>
    <p:sldId id="563" r:id="rId50"/>
    <p:sldId id="564" r:id="rId51"/>
    <p:sldId id="565" r:id="rId52"/>
    <p:sldId id="566" r:id="rId53"/>
    <p:sldId id="567" r:id="rId54"/>
    <p:sldId id="568" r:id="rId55"/>
    <p:sldId id="569" r:id="rId56"/>
    <p:sldId id="570" r:id="rId57"/>
    <p:sldId id="571" r:id="rId58"/>
    <p:sldId id="572" r:id="rId59"/>
    <p:sldId id="573" r:id="rId60"/>
    <p:sldId id="574" r:id="rId61"/>
    <p:sldId id="575" r:id="rId62"/>
    <p:sldId id="576" r:id="rId63"/>
    <p:sldId id="539" r:id="rId64"/>
    <p:sldId id="540" r:id="rId65"/>
    <p:sldId id="541" r:id="rId66"/>
    <p:sldId id="542" r:id="rId67"/>
    <p:sldId id="545" r:id="rId68"/>
    <p:sldId id="554" r:id="rId69"/>
    <p:sldId id="555" r:id="rId70"/>
    <p:sldId id="556" r:id="rId71"/>
    <p:sldId id="557" r:id="rId72"/>
    <p:sldId id="558" r:id="rId73"/>
    <p:sldId id="559" r:id="rId74"/>
    <p:sldId id="560" r:id="rId75"/>
    <p:sldId id="516" r:id="rId76"/>
    <p:sldId id="442" r:id="rId77"/>
    <p:sldId id="342" r:id="rId78"/>
  </p:sldIdLst>
  <p:sldSz cx="9144000" cy="6858000" type="screen4x3"/>
  <p:notesSz cx="6858000" cy="9144000"/>
  <p:custDataLst>
    <p:tags r:id="rId8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336699"/>
    <a:srgbClr val="2C5884"/>
    <a:srgbClr val="2B5681"/>
    <a:srgbClr val="274A7D"/>
    <a:srgbClr val="E2AC00"/>
    <a:srgbClr val="D8D2BF"/>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9" d="100"/>
          <a:sy n="69" d="100"/>
        </p:scale>
        <p:origin x="-1416" y="-96"/>
      </p:cViewPr>
      <p:guideLst>
        <p:guide orient="horz" pos="2160"/>
        <p:guide pos="2880"/>
      </p:guideLst>
    </p:cSldViewPr>
  </p:slideViewPr>
  <p:notesTextViewPr>
    <p:cViewPr>
      <p:scale>
        <a:sx n="1" d="1"/>
        <a:sy n="1" d="1"/>
      </p:scale>
      <p:origin x="0" y="0"/>
    </p:cViewPr>
  </p:notesTextViewPr>
  <p:sorterViewPr>
    <p:cViewPr>
      <p:scale>
        <a:sx n="200" d="100"/>
        <a:sy n="200" d="100"/>
      </p:scale>
      <p:origin x="0" y="0"/>
    </p:cViewPr>
  </p:sorterViewPr>
  <p:notesViewPr>
    <p:cSldViewPr>
      <p:cViewPr varScale="1">
        <p:scale>
          <a:sx n="85" d="100"/>
          <a:sy n="85" d="100"/>
        </p:scale>
        <p:origin x="-383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presProps" Target="presProps.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oleObject" Target="Chart%20in%20Microsoft%20PowerPoint"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7900772112224"/>
          <c:y val="2.9067862181967139E-2"/>
          <c:w val="0.85753102464133735"/>
          <c:h val="0.81370511128305489"/>
        </c:manualLayout>
      </c:layout>
      <c:lineChart>
        <c:grouping val="standard"/>
        <c:varyColors val="0"/>
        <c:ser>
          <c:idx val="0"/>
          <c:order val="0"/>
          <c:tx>
            <c:strRef>
              <c:f>Sheet1!$B$1</c:f>
              <c:strCache>
                <c:ptCount val="1"/>
                <c:pt idx="0">
                  <c:v>No. of Cases</c:v>
                </c:pt>
              </c:strCache>
            </c:strRef>
          </c:tx>
          <c:marker>
            <c:symbol val="none"/>
          </c:marker>
          <c:cat>
            <c:numRef>
              <c:f>Sheet1!$A$2:$A$35</c:f>
              <c:numCache>
                <c:formatCode>General</c:formatCode>
                <c:ptCount val="34"/>
                <c:pt idx="0">
                  <c:v>1982</c:v>
                </c:pt>
                <c:pt idx="1">
                  <c:v>1983</c:v>
                </c:pt>
                <c:pt idx="2">
                  <c:v>1984</c:v>
                </c:pt>
                <c:pt idx="3">
                  <c:v>1985</c:v>
                </c:pt>
                <c:pt idx="4">
                  <c:v>1986</c:v>
                </c:pt>
                <c:pt idx="5">
                  <c:v>1987</c:v>
                </c:pt>
                <c:pt idx="6">
                  <c:v>1988</c:v>
                </c:pt>
                <c:pt idx="7">
                  <c:v>1989</c:v>
                </c:pt>
                <c:pt idx="8">
                  <c:v>1990</c:v>
                </c:pt>
                <c:pt idx="9">
                  <c:v>1991</c:v>
                </c:pt>
                <c:pt idx="10">
                  <c:v>1992</c:v>
                </c:pt>
                <c:pt idx="11">
                  <c:v>1993</c:v>
                </c:pt>
                <c:pt idx="12">
                  <c:v>1994</c:v>
                </c:pt>
                <c:pt idx="13">
                  <c:v>1995</c:v>
                </c:pt>
                <c:pt idx="14">
                  <c:v>1996</c:v>
                </c:pt>
                <c:pt idx="15">
                  <c:v>1997</c:v>
                </c:pt>
                <c:pt idx="16">
                  <c:v>1998</c:v>
                </c:pt>
                <c:pt idx="17">
                  <c:v>1999</c:v>
                </c:pt>
                <c:pt idx="18">
                  <c:v>2000</c:v>
                </c:pt>
                <c:pt idx="19">
                  <c:v>2001</c:v>
                </c:pt>
                <c:pt idx="20">
                  <c:v>2002</c:v>
                </c:pt>
                <c:pt idx="21">
                  <c:v>2003</c:v>
                </c:pt>
                <c:pt idx="22">
                  <c:v>2004</c:v>
                </c:pt>
                <c:pt idx="23">
                  <c:v>2005</c:v>
                </c:pt>
                <c:pt idx="24">
                  <c:v>2006</c:v>
                </c:pt>
                <c:pt idx="25">
                  <c:v>2007</c:v>
                </c:pt>
                <c:pt idx="26">
                  <c:v>2008</c:v>
                </c:pt>
                <c:pt idx="27">
                  <c:v>2009</c:v>
                </c:pt>
                <c:pt idx="28">
                  <c:v>2010</c:v>
                </c:pt>
                <c:pt idx="29">
                  <c:v>2011</c:v>
                </c:pt>
                <c:pt idx="30">
                  <c:v>2012</c:v>
                </c:pt>
                <c:pt idx="31">
                  <c:v>2013</c:v>
                </c:pt>
                <c:pt idx="32">
                  <c:v>2014</c:v>
                </c:pt>
                <c:pt idx="33">
                  <c:v>2015</c:v>
                </c:pt>
              </c:numCache>
            </c:numRef>
          </c:cat>
          <c:val>
            <c:numRef>
              <c:f>Sheet1!$B$2:$B$35</c:f>
              <c:numCache>
                <c:formatCode>#,##0</c:formatCode>
                <c:ptCount val="34"/>
                <c:pt idx="0">
                  <c:v>25520</c:v>
                </c:pt>
                <c:pt idx="1">
                  <c:v>23846</c:v>
                </c:pt>
                <c:pt idx="2">
                  <c:v>22255</c:v>
                </c:pt>
                <c:pt idx="3">
                  <c:v>22201</c:v>
                </c:pt>
                <c:pt idx="4">
                  <c:v>22768</c:v>
                </c:pt>
                <c:pt idx="5">
                  <c:v>22517</c:v>
                </c:pt>
                <c:pt idx="6">
                  <c:v>22436</c:v>
                </c:pt>
                <c:pt idx="7">
                  <c:v>23495</c:v>
                </c:pt>
                <c:pt idx="8">
                  <c:v>25701</c:v>
                </c:pt>
                <c:pt idx="9">
                  <c:v>26283</c:v>
                </c:pt>
                <c:pt idx="10">
                  <c:v>26673</c:v>
                </c:pt>
                <c:pt idx="11">
                  <c:v>25102</c:v>
                </c:pt>
                <c:pt idx="12">
                  <c:v>24206</c:v>
                </c:pt>
                <c:pt idx="13">
                  <c:v>22726</c:v>
                </c:pt>
                <c:pt idx="14">
                  <c:v>21210</c:v>
                </c:pt>
                <c:pt idx="15">
                  <c:v>19751</c:v>
                </c:pt>
                <c:pt idx="16">
                  <c:v>18286</c:v>
                </c:pt>
                <c:pt idx="17">
                  <c:v>17499</c:v>
                </c:pt>
                <c:pt idx="18">
                  <c:v>16308</c:v>
                </c:pt>
                <c:pt idx="19">
                  <c:v>15945</c:v>
                </c:pt>
                <c:pt idx="20">
                  <c:v>15055</c:v>
                </c:pt>
                <c:pt idx="21">
                  <c:v>14835</c:v>
                </c:pt>
                <c:pt idx="22">
                  <c:v>14499</c:v>
                </c:pt>
                <c:pt idx="23">
                  <c:v>14063</c:v>
                </c:pt>
                <c:pt idx="24">
                  <c:v>13728</c:v>
                </c:pt>
                <c:pt idx="25">
                  <c:v>13282</c:v>
                </c:pt>
                <c:pt idx="26" formatCode="General">
                  <c:v>12895</c:v>
                </c:pt>
                <c:pt idx="27" formatCode="General">
                  <c:v>11523</c:v>
                </c:pt>
                <c:pt idx="28" formatCode="General">
                  <c:v>11161</c:v>
                </c:pt>
                <c:pt idx="29" formatCode="General">
                  <c:v>10510</c:v>
                </c:pt>
                <c:pt idx="30" formatCode="General">
                  <c:v>9941</c:v>
                </c:pt>
                <c:pt idx="31" formatCode="General">
                  <c:v>9565</c:v>
                </c:pt>
                <c:pt idx="32" formatCode="General">
                  <c:v>9421</c:v>
                </c:pt>
                <c:pt idx="33" formatCode="General">
                  <c:v>9563</c:v>
                </c:pt>
              </c:numCache>
            </c:numRef>
          </c:val>
          <c:smooth val="0"/>
        </c:ser>
        <c:dLbls>
          <c:showLegendKey val="0"/>
          <c:showVal val="0"/>
          <c:showCatName val="0"/>
          <c:showSerName val="0"/>
          <c:showPercent val="0"/>
          <c:showBubbleSize val="0"/>
        </c:dLbls>
        <c:marker val="1"/>
        <c:smooth val="0"/>
        <c:axId val="121208832"/>
        <c:axId val="121210368"/>
      </c:lineChart>
      <c:catAx>
        <c:axId val="121208832"/>
        <c:scaling>
          <c:orientation val="minMax"/>
        </c:scaling>
        <c:delete val="0"/>
        <c:axPos val="b"/>
        <c:numFmt formatCode="General" sourceLinked="1"/>
        <c:majorTickMark val="out"/>
        <c:minorTickMark val="none"/>
        <c:tickLblPos val="nextTo"/>
        <c:txPr>
          <a:bodyPr rot="-4320000"/>
          <a:lstStyle/>
          <a:p>
            <a:pPr>
              <a:defRPr sz="1400">
                <a:solidFill>
                  <a:schemeClr val="tx1"/>
                </a:solidFill>
                <a:latin typeface="+mn-lt"/>
              </a:defRPr>
            </a:pPr>
            <a:endParaRPr lang="en-US"/>
          </a:p>
        </c:txPr>
        <c:crossAx val="121210368"/>
        <c:crosses val="autoZero"/>
        <c:auto val="1"/>
        <c:lblAlgn val="ctr"/>
        <c:lblOffset val="100"/>
        <c:tickLblSkip val="1"/>
        <c:noMultiLvlLbl val="0"/>
      </c:catAx>
      <c:valAx>
        <c:axId val="121210368"/>
        <c:scaling>
          <c:orientation val="minMax"/>
        </c:scaling>
        <c:delete val="0"/>
        <c:axPos val="l"/>
        <c:majorGridlines>
          <c:spPr>
            <a:ln w="0">
              <a:solidFill>
                <a:srgbClr val="0F56DC">
                  <a:tint val="75000"/>
                  <a:shade val="95000"/>
                  <a:satMod val="105000"/>
                  <a:alpha val="0"/>
                </a:srgbClr>
              </a:solidFill>
            </a:ln>
          </c:spPr>
        </c:majorGridlines>
        <c:numFmt formatCode="#,##0" sourceLinked="1"/>
        <c:majorTickMark val="out"/>
        <c:minorTickMark val="none"/>
        <c:tickLblPos val="nextTo"/>
        <c:txPr>
          <a:bodyPr/>
          <a:lstStyle/>
          <a:p>
            <a:pPr>
              <a:defRPr baseline="0">
                <a:solidFill>
                  <a:schemeClr val="tx1"/>
                </a:solidFill>
                <a:latin typeface="+mn-lt"/>
              </a:defRPr>
            </a:pPr>
            <a:endParaRPr lang="en-US"/>
          </a:p>
        </c:txPr>
        <c:crossAx val="121208832"/>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Roboto" panose="02000000000000000000" pitchFamily="2" charset="0"/>
                <a:ea typeface="Roboto" panose="02000000000000000000" pitchFamily="2" charset="0"/>
                <a:cs typeface="Roboto" panose="02000000000000000000" pitchFamily="2" charset="0"/>
              </a:defRPr>
            </a:pPr>
            <a:r>
              <a:rPr lang="en-US" dirty="0" smtClean="0">
                <a:latin typeface="Roboto" panose="02000000000000000000" pitchFamily="2" charset="0"/>
                <a:ea typeface="Roboto" panose="02000000000000000000" pitchFamily="2" charset="0"/>
                <a:cs typeface="Roboto" panose="02000000000000000000" pitchFamily="2" charset="0"/>
              </a:rPr>
              <a:t>8,660</a:t>
            </a:r>
            <a:r>
              <a:rPr lang="en-US" baseline="0" dirty="0" smtClean="0">
                <a:latin typeface="Roboto" panose="02000000000000000000" pitchFamily="2" charset="0"/>
                <a:ea typeface="Roboto" panose="02000000000000000000" pitchFamily="2" charset="0"/>
                <a:cs typeface="Roboto" panose="02000000000000000000" pitchFamily="2" charset="0"/>
              </a:rPr>
              <a:t> </a:t>
            </a:r>
            <a:r>
              <a:rPr lang="en-US" dirty="0" smtClean="0">
                <a:latin typeface="Roboto" panose="02000000000000000000" pitchFamily="2" charset="0"/>
                <a:ea typeface="Roboto" panose="02000000000000000000" pitchFamily="2" charset="0"/>
                <a:cs typeface="Roboto" panose="02000000000000000000" pitchFamily="2" charset="0"/>
              </a:rPr>
              <a:t>Total Health</a:t>
            </a:r>
            <a:r>
              <a:rPr lang="en-US" baseline="0" dirty="0" smtClean="0">
                <a:latin typeface="Roboto" panose="02000000000000000000" pitchFamily="2" charset="0"/>
                <a:ea typeface="Roboto" panose="02000000000000000000" pitchFamily="2" charset="0"/>
                <a:cs typeface="Roboto" panose="02000000000000000000" pitchFamily="2" charset="0"/>
              </a:rPr>
              <a:t> Network </a:t>
            </a:r>
            <a:r>
              <a:rPr lang="en-US" dirty="0" smtClean="0">
                <a:latin typeface="Roboto" panose="02000000000000000000" pitchFamily="2" charset="0"/>
                <a:ea typeface="Roboto" panose="02000000000000000000" pitchFamily="2" charset="0"/>
                <a:cs typeface="Roboto" panose="02000000000000000000" pitchFamily="2" charset="0"/>
              </a:rPr>
              <a:t>Cases</a:t>
            </a:r>
            <a:endParaRPr lang="en-US" dirty="0">
              <a:latin typeface="Roboto" panose="02000000000000000000" pitchFamily="2" charset="0"/>
              <a:ea typeface="Roboto" panose="02000000000000000000" pitchFamily="2" charset="0"/>
              <a:cs typeface="Roboto" panose="02000000000000000000" pitchFamily="2" charset="0"/>
            </a:endParaRPr>
          </a:p>
        </c:rich>
      </c:tx>
      <c:overlay val="0"/>
    </c:title>
    <c:autoTitleDeleted val="0"/>
    <c:plotArea>
      <c:layout/>
      <c:pieChart>
        <c:varyColors val="1"/>
        <c:ser>
          <c:idx val="0"/>
          <c:order val="0"/>
          <c:tx>
            <c:strRef>
              <c:f>Sheet1!$B$1</c:f>
              <c:strCache>
                <c:ptCount val="1"/>
                <c:pt idx="0">
                  <c:v>Total Cases</c:v>
                </c:pt>
              </c:strCache>
            </c:strRef>
          </c:tx>
          <c:dLbls>
            <c:dLbl>
              <c:idx val="0"/>
              <c:spPr/>
              <c:txPr>
                <a:bodyPr/>
                <a:lstStyle/>
                <a:p>
                  <a:pPr>
                    <a:defRPr>
                      <a:solidFill>
                        <a:schemeClr val="bg1"/>
                      </a:solidFill>
                    </a:defRPr>
                  </a:pPr>
                  <a:endParaRPr lang="en-US"/>
                </a:p>
              </c:txPr>
              <c:showLegendKey val="0"/>
              <c:showVal val="0"/>
              <c:showCatName val="0"/>
              <c:showSerName val="0"/>
              <c:showPercent val="1"/>
              <c:showBubbleSize val="0"/>
            </c:dLbl>
            <c:showLegendKey val="0"/>
            <c:showVal val="0"/>
            <c:showCatName val="0"/>
            <c:showSerName val="0"/>
            <c:showPercent val="1"/>
            <c:showBubbleSize val="0"/>
            <c:showLeaderLines val="1"/>
          </c:dLbls>
          <c:cat>
            <c:strRef>
              <c:f>Sheet1!$A$2:$A$7</c:f>
              <c:strCache>
                <c:ptCount val="6"/>
                <c:pt idx="0">
                  <c:v>TB</c:v>
                </c:pt>
                <c:pt idx="1">
                  <c:v>Diabetes</c:v>
                </c:pt>
                <c:pt idx="2">
                  <c:v>Prenatal</c:v>
                </c:pt>
                <c:pt idx="3">
                  <c:v>General Health</c:v>
                </c:pt>
                <c:pt idx="4">
                  <c:v>Cancer</c:v>
                </c:pt>
                <c:pt idx="5">
                  <c:v>HIV</c:v>
                </c:pt>
              </c:strCache>
            </c:strRef>
          </c:cat>
          <c:val>
            <c:numRef>
              <c:f>Sheet1!$B$2:$B$7</c:f>
              <c:numCache>
                <c:formatCode>General</c:formatCode>
                <c:ptCount val="6"/>
                <c:pt idx="0" formatCode="#,##0">
                  <c:v>6218</c:v>
                </c:pt>
                <c:pt idx="1">
                  <c:v>1015</c:v>
                </c:pt>
                <c:pt idx="2">
                  <c:v>430</c:v>
                </c:pt>
                <c:pt idx="3">
                  <c:v>470</c:v>
                </c:pt>
                <c:pt idx="4">
                  <c:v>284</c:v>
                </c:pt>
                <c:pt idx="5">
                  <c:v>93</c:v>
                </c:pt>
              </c:numCache>
            </c:numRef>
          </c:val>
        </c:ser>
        <c:dLbls>
          <c:showLegendKey val="0"/>
          <c:showVal val="0"/>
          <c:showCatName val="0"/>
          <c:showSerName val="0"/>
          <c:showPercent val="1"/>
          <c:showBubbleSize val="0"/>
          <c:showLeaderLines val="1"/>
        </c:dLbls>
        <c:firstSliceAng val="0"/>
      </c:pieChart>
    </c:plotArea>
    <c:legend>
      <c:legendPos val="r"/>
      <c:overlay val="0"/>
      <c:txPr>
        <a:bodyPr/>
        <a:lstStyle/>
        <a:p>
          <a:pPr>
            <a:defRPr>
              <a:latin typeface="Roboto" panose="02000000000000000000" pitchFamily="2" charset="0"/>
              <a:ea typeface="Roboto" panose="02000000000000000000" pitchFamily="2" charset="0"/>
              <a:cs typeface="Roboto" panose="02000000000000000000" pitchFamily="2"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2400" b="0"/>
            </a:pPr>
            <a:r>
              <a:rPr lang="en-US" sz="2400" b="0"/>
              <a:t>Health Network Enrollments in TB, Prenatal and Diabetes, 2005-2015</a:t>
            </a:r>
          </a:p>
        </c:rich>
      </c:tx>
      <c:overlay val="0"/>
    </c:title>
    <c:autoTitleDeleted val="0"/>
    <c:plotArea>
      <c:layout/>
      <c:barChart>
        <c:barDir val="col"/>
        <c:grouping val="clustered"/>
        <c:varyColors val="0"/>
        <c:ser>
          <c:idx val="0"/>
          <c:order val="0"/>
          <c:tx>
            <c:strRef>
              <c:f>'[Chart in Microsoft PowerPoint]Sheet2'!$B$1</c:f>
              <c:strCache>
                <c:ptCount val="1"/>
                <c:pt idx="0">
                  <c:v>TB</c:v>
                </c:pt>
              </c:strCache>
            </c:strRef>
          </c:tx>
          <c:invertIfNegative val="0"/>
          <c:trendline>
            <c:trendlineType val="linear"/>
            <c:dispRSqr val="0"/>
            <c:dispEq val="0"/>
          </c:trendline>
          <c:cat>
            <c:numRef>
              <c:f>'[Chart in Microsoft PowerPoint]Sheet2'!$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Chart in Microsoft PowerPoint]Sheet2'!$B$2:$B$12</c:f>
              <c:numCache>
                <c:formatCode>General</c:formatCode>
                <c:ptCount val="11"/>
                <c:pt idx="0">
                  <c:v>253</c:v>
                </c:pt>
                <c:pt idx="1">
                  <c:v>334</c:v>
                </c:pt>
                <c:pt idx="2">
                  <c:v>303</c:v>
                </c:pt>
                <c:pt idx="3">
                  <c:v>242</c:v>
                </c:pt>
                <c:pt idx="4">
                  <c:v>161</c:v>
                </c:pt>
                <c:pt idx="5">
                  <c:v>332</c:v>
                </c:pt>
                <c:pt idx="6">
                  <c:v>389</c:v>
                </c:pt>
                <c:pt idx="7">
                  <c:v>428</c:v>
                </c:pt>
                <c:pt idx="8">
                  <c:v>349</c:v>
                </c:pt>
                <c:pt idx="9">
                  <c:v>422</c:v>
                </c:pt>
                <c:pt idx="10">
                  <c:v>613</c:v>
                </c:pt>
              </c:numCache>
            </c:numRef>
          </c:val>
        </c:ser>
        <c:ser>
          <c:idx val="1"/>
          <c:order val="1"/>
          <c:tx>
            <c:strRef>
              <c:f>'[Chart in Microsoft PowerPoint]Sheet2'!$C$1</c:f>
              <c:strCache>
                <c:ptCount val="1"/>
                <c:pt idx="0">
                  <c:v>Prenatal</c:v>
                </c:pt>
              </c:strCache>
            </c:strRef>
          </c:tx>
          <c:invertIfNegative val="0"/>
          <c:cat>
            <c:numRef>
              <c:f>'[Chart in Microsoft PowerPoint]Sheet2'!$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Chart in Microsoft PowerPoint]Sheet2'!$C$2:$C$12</c:f>
              <c:numCache>
                <c:formatCode>General</c:formatCode>
                <c:ptCount val="11"/>
                <c:pt idx="1">
                  <c:v>18</c:v>
                </c:pt>
                <c:pt idx="2">
                  <c:v>35</c:v>
                </c:pt>
                <c:pt idx="3">
                  <c:v>36</c:v>
                </c:pt>
                <c:pt idx="4">
                  <c:v>90</c:v>
                </c:pt>
                <c:pt idx="5">
                  <c:v>80</c:v>
                </c:pt>
                <c:pt idx="6">
                  <c:v>58</c:v>
                </c:pt>
                <c:pt idx="7">
                  <c:v>33</c:v>
                </c:pt>
                <c:pt idx="8">
                  <c:v>16</c:v>
                </c:pt>
                <c:pt idx="9">
                  <c:v>11</c:v>
                </c:pt>
                <c:pt idx="10">
                  <c:v>13</c:v>
                </c:pt>
              </c:numCache>
            </c:numRef>
          </c:val>
        </c:ser>
        <c:ser>
          <c:idx val="2"/>
          <c:order val="2"/>
          <c:tx>
            <c:strRef>
              <c:f>'[Chart in Microsoft PowerPoint]Sheet2'!$D$1</c:f>
              <c:strCache>
                <c:ptCount val="1"/>
                <c:pt idx="0">
                  <c:v>Diabetes</c:v>
                </c:pt>
              </c:strCache>
            </c:strRef>
          </c:tx>
          <c:invertIfNegative val="0"/>
          <c:cat>
            <c:numRef>
              <c:f>'[Chart in Microsoft PowerPoint]Sheet2'!$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Chart in Microsoft PowerPoint]Sheet2'!$D$2:$D$12</c:f>
              <c:numCache>
                <c:formatCode>General</c:formatCode>
                <c:ptCount val="11"/>
                <c:pt idx="0">
                  <c:v>81</c:v>
                </c:pt>
                <c:pt idx="1">
                  <c:v>57</c:v>
                </c:pt>
                <c:pt idx="2">
                  <c:v>40</c:v>
                </c:pt>
                <c:pt idx="3">
                  <c:v>29</c:v>
                </c:pt>
                <c:pt idx="4">
                  <c:v>12</c:v>
                </c:pt>
                <c:pt idx="5">
                  <c:v>50</c:v>
                </c:pt>
                <c:pt idx="6">
                  <c:v>44</c:v>
                </c:pt>
                <c:pt idx="7">
                  <c:v>40</c:v>
                </c:pt>
                <c:pt idx="8">
                  <c:v>42</c:v>
                </c:pt>
                <c:pt idx="9">
                  <c:v>43</c:v>
                </c:pt>
                <c:pt idx="10">
                  <c:v>42</c:v>
                </c:pt>
              </c:numCache>
            </c:numRef>
          </c:val>
        </c:ser>
        <c:dLbls>
          <c:showLegendKey val="0"/>
          <c:showVal val="0"/>
          <c:showCatName val="0"/>
          <c:showSerName val="0"/>
          <c:showPercent val="0"/>
          <c:showBubbleSize val="0"/>
        </c:dLbls>
        <c:gapWidth val="75"/>
        <c:overlap val="-25"/>
        <c:axId val="84699776"/>
        <c:axId val="84713856"/>
      </c:barChart>
      <c:catAx>
        <c:axId val="84699776"/>
        <c:scaling>
          <c:orientation val="minMax"/>
        </c:scaling>
        <c:delete val="0"/>
        <c:axPos val="b"/>
        <c:numFmt formatCode="General" sourceLinked="1"/>
        <c:majorTickMark val="none"/>
        <c:minorTickMark val="none"/>
        <c:tickLblPos val="nextTo"/>
        <c:crossAx val="84713856"/>
        <c:crosses val="autoZero"/>
        <c:auto val="1"/>
        <c:lblAlgn val="ctr"/>
        <c:lblOffset val="100"/>
        <c:noMultiLvlLbl val="0"/>
      </c:catAx>
      <c:valAx>
        <c:axId val="84713856"/>
        <c:scaling>
          <c:orientation val="minMax"/>
        </c:scaling>
        <c:delete val="0"/>
        <c:axPos val="l"/>
        <c:numFmt formatCode="General" sourceLinked="1"/>
        <c:majorTickMark val="none"/>
        <c:minorTickMark val="none"/>
        <c:tickLblPos val="nextTo"/>
        <c:spPr>
          <a:ln w="9525">
            <a:noFill/>
          </a:ln>
        </c:spPr>
        <c:crossAx val="84699776"/>
        <c:crosses val="autoZero"/>
        <c:crossBetween val="between"/>
      </c:valAx>
    </c:plotArea>
    <c:legend>
      <c:legendPos val="b"/>
      <c:overlay val="0"/>
    </c:legend>
    <c:plotVisOnly val="1"/>
    <c:dispBlanksAs val="gap"/>
    <c:showDLblsOverMax val="0"/>
  </c:chart>
  <c:externalData r:id="rId2">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 Id="rId5" Type="http://schemas.openxmlformats.org/officeDocument/2006/relationships/image" Target="../media/image13.jpeg"/><Relationship Id="rId4" Type="http://schemas.openxmlformats.org/officeDocument/2006/relationships/image" Target="../media/image12.jpeg"/></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9B1AC0-C1A4-4C72-B1CE-1470BFA0B8B7}" type="doc">
      <dgm:prSet loTypeId="urn:microsoft.com/office/officeart/2005/8/layout/vList4" loCatId="picture" qsTypeId="urn:microsoft.com/office/officeart/2005/8/quickstyle/simple1" qsCatId="simple" csTypeId="urn:microsoft.com/office/officeart/2005/8/colors/accent1_3" csCatId="accent1" phldr="1"/>
      <dgm:spPr/>
      <dgm:t>
        <a:bodyPr/>
        <a:lstStyle/>
        <a:p>
          <a:endParaRPr lang="en-US"/>
        </a:p>
      </dgm:t>
    </dgm:pt>
    <dgm:pt modelId="{B25C5D3E-E500-4F0F-AB56-5E4E17621665}">
      <dgm:prSet phldrT="[Text]" custT="1"/>
      <dgm:spPr/>
      <dgm:t>
        <a:bodyPr/>
        <a:lstStyle/>
        <a:p>
          <a:r>
            <a:rPr lang="en-US" sz="2700" dirty="0" smtClean="0"/>
            <a:t>TB causes more deaths among women than all causes of maternal mortality</a:t>
          </a:r>
          <a:endParaRPr lang="en-US" sz="2700" dirty="0"/>
        </a:p>
      </dgm:t>
    </dgm:pt>
    <dgm:pt modelId="{34BE4DE5-912B-48C2-9A1B-6A898DAC295C}" type="parTrans" cxnId="{2F497ABB-C2E9-48EF-B6CD-3420351BE2B1}">
      <dgm:prSet/>
      <dgm:spPr/>
      <dgm:t>
        <a:bodyPr/>
        <a:lstStyle/>
        <a:p>
          <a:endParaRPr lang="en-US"/>
        </a:p>
      </dgm:t>
    </dgm:pt>
    <dgm:pt modelId="{2A60BD03-87B6-4039-96A5-05FD28DF2181}" type="sibTrans" cxnId="{2F497ABB-C2E9-48EF-B6CD-3420351BE2B1}">
      <dgm:prSet/>
      <dgm:spPr/>
      <dgm:t>
        <a:bodyPr/>
        <a:lstStyle/>
        <a:p>
          <a:endParaRPr lang="en-US"/>
        </a:p>
      </dgm:t>
    </dgm:pt>
    <dgm:pt modelId="{9CF90A7C-3EDD-471F-9D8F-6346B4AFD649}">
      <dgm:prSet/>
      <dgm:spPr/>
      <dgm:t>
        <a:bodyPr/>
        <a:lstStyle/>
        <a:p>
          <a:endParaRPr lang="en-US" sz="1500" dirty="0"/>
        </a:p>
      </dgm:t>
    </dgm:pt>
    <dgm:pt modelId="{DF029256-61D4-4A38-90DC-EA1191EB2216}" type="parTrans" cxnId="{702A1DDF-FE92-4055-98B0-A32FC0238AED}">
      <dgm:prSet/>
      <dgm:spPr/>
      <dgm:t>
        <a:bodyPr/>
        <a:lstStyle/>
        <a:p>
          <a:endParaRPr lang="en-US"/>
        </a:p>
      </dgm:t>
    </dgm:pt>
    <dgm:pt modelId="{347BCC8D-18DE-464F-A5CA-9647AFA24DF0}" type="sibTrans" cxnId="{702A1DDF-FE92-4055-98B0-A32FC0238AED}">
      <dgm:prSet/>
      <dgm:spPr/>
      <dgm:t>
        <a:bodyPr/>
        <a:lstStyle/>
        <a:p>
          <a:endParaRPr lang="en-US"/>
        </a:p>
      </dgm:t>
    </dgm:pt>
    <dgm:pt modelId="{E1EA0F0D-CD67-41BC-AE47-2D3E7B6DC1E2}">
      <dgm:prSet/>
      <dgm:spPr/>
      <dgm:t>
        <a:bodyPr/>
        <a:lstStyle/>
        <a:p>
          <a:r>
            <a:rPr lang="en-US" dirty="0" smtClean="0"/>
            <a:t>Every day 20,000 people develop TB disease and 4,400 die (&lt; 12,000 Total Ebola Deaths)</a:t>
          </a:r>
          <a:endParaRPr lang="en-US" dirty="0"/>
        </a:p>
      </dgm:t>
    </dgm:pt>
    <dgm:pt modelId="{1F879A05-E119-4AF1-B60C-FBEF24A84DC1}" type="parTrans" cxnId="{BE8CFF6C-187D-4E88-8B17-224742FED444}">
      <dgm:prSet/>
      <dgm:spPr/>
      <dgm:t>
        <a:bodyPr/>
        <a:lstStyle/>
        <a:p>
          <a:endParaRPr lang="en-US"/>
        </a:p>
      </dgm:t>
    </dgm:pt>
    <dgm:pt modelId="{F1E74EA5-67F3-4728-85CF-BF31ADBD48EA}" type="sibTrans" cxnId="{BE8CFF6C-187D-4E88-8B17-224742FED444}">
      <dgm:prSet/>
      <dgm:spPr/>
      <dgm:t>
        <a:bodyPr/>
        <a:lstStyle/>
        <a:p>
          <a:endParaRPr lang="en-US"/>
        </a:p>
      </dgm:t>
    </dgm:pt>
    <dgm:pt modelId="{D48427C7-8742-4474-A4AE-39C1C2351399}">
      <dgm:prSet/>
      <dgm:spPr/>
      <dgm:t>
        <a:bodyPr/>
        <a:lstStyle/>
        <a:p>
          <a:r>
            <a:rPr lang="en-US" dirty="0" smtClean="0"/>
            <a:t>Each year over 9 million people around the world become sick with TB disease.</a:t>
          </a:r>
          <a:endParaRPr lang="en-US" dirty="0"/>
        </a:p>
      </dgm:t>
    </dgm:pt>
    <dgm:pt modelId="{BD0CC694-DC66-4F11-88C2-104540620597}" type="parTrans" cxnId="{48D8F74F-2317-46C7-861D-C8317B24BDE6}">
      <dgm:prSet/>
      <dgm:spPr/>
      <dgm:t>
        <a:bodyPr/>
        <a:lstStyle/>
        <a:p>
          <a:endParaRPr lang="en-US"/>
        </a:p>
      </dgm:t>
    </dgm:pt>
    <dgm:pt modelId="{B6DEC600-30EA-4522-A1DD-EDE4737F8649}" type="sibTrans" cxnId="{48D8F74F-2317-46C7-861D-C8317B24BDE6}">
      <dgm:prSet/>
      <dgm:spPr/>
      <dgm:t>
        <a:bodyPr/>
        <a:lstStyle/>
        <a:p>
          <a:endParaRPr lang="en-US"/>
        </a:p>
      </dgm:t>
    </dgm:pt>
    <dgm:pt modelId="{E57D8436-79E7-4A48-85CA-91A9A3079D67}">
      <dgm:prSet/>
      <dgm:spPr/>
      <dgm:t>
        <a:bodyPr/>
        <a:lstStyle/>
        <a:p>
          <a:r>
            <a:rPr lang="en-US" dirty="0" smtClean="0"/>
            <a:t>On average, one person dies of TB every 15 seconds</a:t>
          </a:r>
          <a:endParaRPr lang="en-US" dirty="0"/>
        </a:p>
      </dgm:t>
    </dgm:pt>
    <dgm:pt modelId="{831DB032-7A2F-4872-B165-7DC8E6499B09}" type="parTrans" cxnId="{DC530841-403D-402F-B746-4591CA1D94BE}">
      <dgm:prSet/>
      <dgm:spPr/>
      <dgm:t>
        <a:bodyPr/>
        <a:lstStyle/>
        <a:p>
          <a:endParaRPr lang="en-US"/>
        </a:p>
      </dgm:t>
    </dgm:pt>
    <dgm:pt modelId="{FC86AC47-7A24-492A-A530-21203CED75BD}" type="sibTrans" cxnId="{DC530841-403D-402F-B746-4591CA1D94BE}">
      <dgm:prSet/>
      <dgm:spPr/>
      <dgm:t>
        <a:bodyPr/>
        <a:lstStyle/>
        <a:p>
          <a:endParaRPr lang="en-US"/>
        </a:p>
      </dgm:t>
    </dgm:pt>
    <dgm:pt modelId="{07ED29DA-F8B0-400E-B370-21956B22D797}">
      <dgm:prSet/>
      <dgm:spPr/>
      <dgm:t>
        <a:bodyPr/>
        <a:lstStyle/>
        <a:p>
          <a:r>
            <a:rPr lang="en-US" dirty="0" smtClean="0"/>
            <a:t>TB accounts for more than ¼ of all preventable adult deaths in developing countries</a:t>
          </a:r>
          <a:endParaRPr lang="en-US" dirty="0"/>
        </a:p>
      </dgm:t>
    </dgm:pt>
    <dgm:pt modelId="{2F08EF5E-6C0C-489E-9C2D-D273228C3328}" type="parTrans" cxnId="{800F1D91-4FA8-4355-8519-861ECDCDA222}">
      <dgm:prSet/>
      <dgm:spPr/>
      <dgm:t>
        <a:bodyPr/>
        <a:lstStyle/>
        <a:p>
          <a:endParaRPr lang="en-US"/>
        </a:p>
      </dgm:t>
    </dgm:pt>
    <dgm:pt modelId="{A8ACCCE2-9091-4379-8B5D-4E50C487AD85}" type="sibTrans" cxnId="{800F1D91-4FA8-4355-8519-861ECDCDA222}">
      <dgm:prSet/>
      <dgm:spPr/>
      <dgm:t>
        <a:bodyPr/>
        <a:lstStyle/>
        <a:p>
          <a:endParaRPr lang="en-US"/>
        </a:p>
      </dgm:t>
    </dgm:pt>
    <dgm:pt modelId="{63AA39AE-89BF-4FBB-867A-E8D2DEE2C11F}" type="pres">
      <dgm:prSet presAssocID="{009B1AC0-C1A4-4C72-B1CE-1470BFA0B8B7}" presName="linear" presStyleCnt="0">
        <dgm:presLayoutVars>
          <dgm:dir/>
          <dgm:resizeHandles val="exact"/>
        </dgm:presLayoutVars>
      </dgm:prSet>
      <dgm:spPr/>
      <dgm:t>
        <a:bodyPr/>
        <a:lstStyle/>
        <a:p>
          <a:endParaRPr lang="en-US"/>
        </a:p>
      </dgm:t>
    </dgm:pt>
    <dgm:pt modelId="{BFD62D4E-1299-44B3-8E79-08D58D8D753C}" type="pres">
      <dgm:prSet presAssocID="{B25C5D3E-E500-4F0F-AB56-5E4E17621665}" presName="comp" presStyleCnt="0"/>
      <dgm:spPr/>
    </dgm:pt>
    <dgm:pt modelId="{7E0B9BF3-9466-4443-BBD8-A2F0E482A4CB}" type="pres">
      <dgm:prSet presAssocID="{B25C5D3E-E500-4F0F-AB56-5E4E17621665}" presName="box" presStyleLbl="node1" presStyleIdx="0" presStyleCnt="5"/>
      <dgm:spPr/>
      <dgm:t>
        <a:bodyPr/>
        <a:lstStyle/>
        <a:p>
          <a:endParaRPr lang="en-US"/>
        </a:p>
      </dgm:t>
    </dgm:pt>
    <dgm:pt modelId="{787F3C8A-06ED-4555-AE15-FCB827316FD2}" type="pres">
      <dgm:prSet presAssocID="{B25C5D3E-E500-4F0F-AB56-5E4E17621665}" presName="img" presStyleLbl="fgImgPlace1" presStyleIdx="0" presStyleCnt="5"/>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t>
        <a:bodyPr/>
        <a:lstStyle/>
        <a:p>
          <a:endParaRPr lang="en-US"/>
        </a:p>
      </dgm:t>
    </dgm:pt>
    <dgm:pt modelId="{D281EDB7-F17A-4F5B-A340-13DAF3316CA2}" type="pres">
      <dgm:prSet presAssocID="{B25C5D3E-E500-4F0F-AB56-5E4E17621665}" presName="text" presStyleLbl="node1" presStyleIdx="0" presStyleCnt="5">
        <dgm:presLayoutVars>
          <dgm:bulletEnabled val="1"/>
        </dgm:presLayoutVars>
      </dgm:prSet>
      <dgm:spPr/>
      <dgm:t>
        <a:bodyPr/>
        <a:lstStyle/>
        <a:p>
          <a:endParaRPr lang="en-US"/>
        </a:p>
      </dgm:t>
    </dgm:pt>
    <dgm:pt modelId="{2ACAE89A-D575-4F0C-B303-37AA09BAEBBC}" type="pres">
      <dgm:prSet presAssocID="{2A60BD03-87B6-4039-96A5-05FD28DF2181}" presName="spacer" presStyleCnt="0"/>
      <dgm:spPr/>
    </dgm:pt>
    <dgm:pt modelId="{4F99867E-F3B2-4565-9E3F-81B7D88072D5}" type="pres">
      <dgm:prSet presAssocID="{E1EA0F0D-CD67-41BC-AE47-2D3E7B6DC1E2}" presName="comp" presStyleCnt="0"/>
      <dgm:spPr/>
    </dgm:pt>
    <dgm:pt modelId="{3391826C-0F35-4C54-BE8C-8F21BE9D27FF}" type="pres">
      <dgm:prSet presAssocID="{E1EA0F0D-CD67-41BC-AE47-2D3E7B6DC1E2}" presName="box" presStyleLbl="node1" presStyleIdx="1" presStyleCnt="5"/>
      <dgm:spPr/>
      <dgm:t>
        <a:bodyPr/>
        <a:lstStyle/>
        <a:p>
          <a:endParaRPr lang="en-US"/>
        </a:p>
      </dgm:t>
    </dgm:pt>
    <dgm:pt modelId="{A92DE140-E01A-4207-8E4C-55A3974F121C}" type="pres">
      <dgm:prSet presAssocID="{E1EA0F0D-CD67-41BC-AE47-2D3E7B6DC1E2}" presName="img" presStyleLbl="fgImgPlace1" presStyleIdx="1" presStyleCnt="5"/>
      <dgm:spPr>
        <a:blipFill>
          <a:blip xmlns:r="http://schemas.openxmlformats.org/officeDocument/2006/relationships" r:embed="rId2" cstate="email">
            <a:extLst>
              <a:ext uri="{28A0092B-C50C-407E-A947-70E740481C1C}">
                <a14:useLocalDpi xmlns:a14="http://schemas.microsoft.com/office/drawing/2010/main"/>
              </a:ext>
            </a:extLst>
          </a:blip>
          <a:srcRect/>
          <a:stretch>
            <a:fillRect/>
          </a:stretch>
        </a:blipFill>
      </dgm:spPr>
      <dgm:t>
        <a:bodyPr/>
        <a:lstStyle/>
        <a:p>
          <a:endParaRPr lang="en-US"/>
        </a:p>
      </dgm:t>
    </dgm:pt>
    <dgm:pt modelId="{2D044025-4DE5-444E-8B42-BA9CBA237430}" type="pres">
      <dgm:prSet presAssocID="{E1EA0F0D-CD67-41BC-AE47-2D3E7B6DC1E2}" presName="text" presStyleLbl="node1" presStyleIdx="1" presStyleCnt="5">
        <dgm:presLayoutVars>
          <dgm:bulletEnabled val="1"/>
        </dgm:presLayoutVars>
      </dgm:prSet>
      <dgm:spPr/>
      <dgm:t>
        <a:bodyPr/>
        <a:lstStyle/>
        <a:p>
          <a:endParaRPr lang="en-US"/>
        </a:p>
      </dgm:t>
    </dgm:pt>
    <dgm:pt modelId="{F0F7CB44-6E17-4DE7-BEC7-9B08A1A18AE7}" type="pres">
      <dgm:prSet presAssocID="{F1E74EA5-67F3-4728-85CF-BF31ADBD48EA}" presName="spacer" presStyleCnt="0"/>
      <dgm:spPr/>
    </dgm:pt>
    <dgm:pt modelId="{43738BDC-7955-4F09-840A-2D5911A76C71}" type="pres">
      <dgm:prSet presAssocID="{D48427C7-8742-4474-A4AE-39C1C2351399}" presName="comp" presStyleCnt="0"/>
      <dgm:spPr/>
    </dgm:pt>
    <dgm:pt modelId="{86DF658C-A47D-424A-984C-94F517B34368}" type="pres">
      <dgm:prSet presAssocID="{D48427C7-8742-4474-A4AE-39C1C2351399}" presName="box" presStyleLbl="node1" presStyleIdx="2" presStyleCnt="5"/>
      <dgm:spPr/>
      <dgm:t>
        <a:bodyPr/>
        <a:lstStyle/>
        <a:p>
          <a:endParaRPr lang="en-US"/>
        </a:p>
      </dgm:t>
    </dgm:pt>
    <dgm:pt modelId="{A487FC20-50A9-4B5E-80DC-5C15298FA428}" type="pres">
      <dgm:prSet presAssocID="{D48427C7-8742-4474-A4AE-39C1C2351399}" presName="img" presStyleLbl="fgImgPlace1" presStyleIdx="2" presStyleCnt="5"/>
      <dgm:spPr>
        <a:blipFill>
          <a:blip xmlns:r="http://schemas.openxmlformats.org/officeDocument/2006/relationships" r:embed="rId3" cstate="email">
            <a:extLst>
              <a:ext uri="{28A0092B-C50C-407E-A947-70E740481C1C}">
                <a14:useLocalDpi xmlns:a14="http://schemas.microsoft.com/office/drawing/2010/main"/>
              </a:ext>
            </a:extLst>
          </a:blip>
          <a:srcRect/>
          <a:stretch>
            <a:fillRect/>
          </a:stretch>
        </a:blipFill>
      </dgm:spPr>
      <dgm:t>
        <a:bodyPr/>
        <a:lstStyle/>
        <a:p>
          <a:endParaRPr lang="en-US"/>
        </a:p>
      </dgm:t>
    </dgm:pt>
    <dgm:pt modelId="{C489631A-4602-42B1-8068-233BD577F31A}" type="pres">
      <dgm:prSet presAssocID="{D48427C7-8742-4474-A4AE-39C1C2351399}" presName="text" presStyleLbl="node1" presStyleIdx="2" presStyleCnt="5">
        <dgm:presLayoutVars>
          <dgm:bulletEnabled val="1"/>
        </dgm:presLayoutVars>
      </dgm:prSet>
      <dgm:spPr/>
      <dgm:t>
        <a:bodyPr/>
        <a:lstStyle/>
        <a:p>
          <a:endParaRPr lang="en-US"/>
        </a:p>
      </dgm:t>
    </dgm:pt>
    <dgm:pt modelId="{260D24C3-1994-4933-8828-D6BEDC594559}" type="pres">
      <dgm:prSet presAssocID="{B6DEC600-30EA-4522-A1DD-EDE4737F8649}" presName="spacer" presStyleCnt="0"/>
      <dgm:spPr/>
    </dgm:pt>
    <dgm:pt modelId="{020F4E69-4969-4277-A91B-340813DFE3F8}" type="pres">
      <dgm:prSet presAssocID="{E57D8436-79E7-4A48-85CA-91A9A3079D67}" presName="comp" presStyleCnt="0"/>
      <dgm:spPr/>
    </dgm:pt>
    <dgm:pt modelId="{9AD616B0-004D-42B1-9A00-42DDC3877AFD}" type="pres">
      <dgm:prSet presAssocID="{E57D8436-79E7-4A48-85CA-91A9A3079D67}" presName="box" presStyleLbl="node1" presStyleIdx="3" presStyleCnt="5"/>
      <dgm:spPr/>
      <dgm:t>
        <a:bodyPr/>
        <a:lstStyle/>
        <a:p>
          <a:endParaRPr lang="en-US"/>
        </a:p>
      </dgm:t>
    </dgm:pt>
    <dgm:pt modelId="{56A7A4FB-A8C6-4321-A663-735785CABFE9}" type="pres">
      <dgm:prSet presAssocID="{E57D8436-79E7-4A48-85CA-91A9A3079D67}" presName="img" presStyleLbl="fgImgPlace1" presStyleIdx="3" presStyleCnt="5"/>
      <dgm:spPr>
        <a:blipFill>
          <a:blip xmlns:r="http://schemas.openxmlformats.org/officeDocument/2006/relationships" r:embed="rId4" cstate="email">
            <a:extLst>
              <a:ext uri="{28A0092B-C50C-407E-A947-70E740481C1C}">
                <a14:useLocalDpi xmlns:a14="http://schemas.microsoft.com/office/drawing/2010/main"/>
              </a:ext>
            </a:extLst>
          </a:blip>
          <a:srcRect/>
          <a:stretch>
            <a:fillRect/>
          </a:stretch>
        </a:blipFill>
      </dgm:spPr>
      <dgm:t>
        <a:bodyPr/>
        <a:lstStyle/>
        <a:p>
          <a:endParaRPr lang="en-US"/>
        </a:p>
      </dgm:t>
    </dgm:pt>
    <dgm:pt modelId="{8CBAF364-2433-4DF4-8B13-BC98DA5AEEA2}" type="pres">
      <dgm:prSet presAssocID="{E57D8436-79E7-4A48-85CA-91A9A3079D67}" presName="text" presStyleLbl="node1" presStyleIdx="3" presStyleCnt="5">
        <dgm:presLayoutVars>
          <dgm:bulletEnabled val="1"/>
        </dgm:presLayoutVars>
      </dgm:prSet>
      <dgm:spPr/>
      <dgm:t>
        <a:bodyPr/>
        <a:lstStyle/>
        <a:p>
          <a:endParaRPr lang="en-US"/>
        </a:p>
      </dgm:t>
    </dgm:pt>
    <dgm:pt modelId="{21E986F8-23D8-4C7F-8D5C-F219751A2186}" type="pres">
      <dgm:prSet presAssocID="{FC86AC47-7A24-492A-A530-21203CED75BD}" presName="spacer" presStyleCnt="0"/>
      <dgm:spPr/>
    </dgm:pt>
    <dgm:pt modelId="{73CFE082-B2AE-42F4-B4B2-EABE86AF4C90}" type="pres">
      <dgm:prSet presAssocID="{07ED29DA-F8B0-400E-B370-21956B22D797}" presName="comp" presStyleCnt="0"/>
      <dgm:spPr/>
    </dgm:pt>
    <dgm:pt modelId="{BF813A04-F66C-4033-A08C-E2D43A384980}" type="pres">
      <dgm:prSet presAssocID="{07ED29DA-F8B0-400E-B370-21956B22D797}" presName="box" presStyleLbl="node1" presStyleIdx="4" presStyleCnt="5"/>
      <dgm:spPr/>
      <dgm:t>
        <a:bodyPr/>
        <a:lstStyle/>
        <a:p>
          <a:endParaRPr lang="en-US"/>
        </a:p>
      </dgm:t>
    </dgm:pt>
    <dgm:pt modelId="{E2BE47C3-F626-473E-9029-A403D51DD71F}" type="pres">
      <dgm:prSet presAssocID="{07ED29DA-F8B0-400E-B370-21956B22D797}" presName="img" presStyleLbl="fgImgPlace1" presStyleIdx="4" presStyleCnt="5"/>
      <dgm:spPr>
        <a:blipFill>
          <a:blip xmlns:r="http://schemas.openxmlformats.org/officeDocument/2006/relationships" r:embed="rId5" cstate="email">
            <a:extLst>
              <a:ext uri="{28A0092B-C50C-407E-A947-70E740481C1C}">
                <a14:useLocalDpi xmlns:a14="http://schemas.microsoft.com/office/drawing/2010/main"/>
              </a:ext>
            </a:extLst>
          </a:blip>
          <a:srcRect/>
          <a:stretch>
            <a:fillRect/>
          </a:stretch>
        </a:blipFill>
      </dgm:spPr>
      <dgm:t>
        <a:bodyPr/>
        <a:lstStyle/>
        <a:p>
          <a:endParaRPr lang="en-US"/>
        </a:p>
      </dgm:t>
    </dgm:pt>
    <dgm:pt modelId="{B913A4AA-EB23-4460-B33A-D24F8A1DB844}" type="pres">
      <dgm:prSet presAssocID="{07ED29DA-F8B0-400E-B370-21956B22D797}" presName="text" presStyleLbl="node1" presStyleIdx="4" presStyleCnt="5">
        <dgm:presLayoutVars>
          <dgm:bulletEnabled val="1"/>
        </dgm:presLayoutVars>
      </dgm:prSet>
      <dgm:spPr/>
      <dgm:t>
        <a:bodyPr/>
        <a:lstStyle/>
        <a:p>
          <a:endParaRPr lang="en-US"/>
        </a:p>
      </dgm:t>
    </dgm:pt>
  </dgm:ptLst>
  <dgm:cxnLst>
    <dgm:cxn modelId="{48D8F74F-2317-46C7-861D-C8317B24BDE6}" srcId="{009B1AC0-C1A4-4C72-B1CE-1470BFA0B8B7}" destId="{D48427C7-8742-4474-A4AE-39C1C2351399}" srcOrd="2" destOrd="0" parTransId="{BD0CC694-DC66-4F11-88C2-104540620597}" sibTransId="{B6DEC600-30EA-4522-A1DD-EDE4737F8649}"/>
    <dgm:cxn modelId="{ED7D523A-EA89-4014-BFA2-90B9F45A61B6}" type="presOf" srcId="{B25C5D3E-E500-4F0F-AB56-5E4E17621665}" destId="{7E0B9BF3-9466-4443-BBD8-A2F0E482A4CB}" srcOrd="0" destOrd="0" presId="urn:microsoft.com/office/officeart/2005/8/layout/vList4"/>
    <dgm:cxn modelId="{4A37AE54-FCA8-4F89-B43A-95F9AFDB14E5}" type="presOf" srcId="{E1EA0F0D-CD67-41BC-AE47-2D3E7B6DC1E2}" destId="{3391826C-0F35-4C54-BE8C-8F21BE9D27FF}" srcOrd="0" destOrd="0" presId="urn:microsoft.com/office/officeart/2005/8/layout/vList4"/>
    <dgm:cxn modelId="{602AB950-A984-40E9-A2A4-674F8635632F}" type="presOf" srcId="{E57D8436-79E7-4A48-85CA-91A9A3079D67}" destId="{8CBAF364-2433-4DF4-8B13-BC98DA5AEEA2}" srcOrd="1" destOrd="0" presId="urn:microsoft.com/office/officeart/2005/8/layout/vList4"/>
    <dgm:cxn modelId="{BE8CFF6C-187D-4E88-8B17-224742FED444}" srcId="{009B1AC0-C1A4-4C72-B1CE-1470BFA0B8B7}" destId="{E1EA0F0D-CD67-41BC-AE47-2D3E7B6DC1E2}" srcOrd="1" destOrd="0" parTransId="{1F879A05-E119-4AF1-B60C-FBEF24A84DC1}" sibTransId="{F1E74EA5-67F3-4728-85CF-BF31ADBD48EA}"/>
    <dgm:cxn modelId="{E1B72D8F-4081-4143-AE8D-7A405D2547A0}" type="presOf" srcId="{9CF90A7C-3EDD-471F-9D8F-6346B4AFD649}" destId="{7E0B9BF3-9466-4443-BBD8-A2F0E482A4CB}" srcOrd="0" destOrd="1" presId="urn:microsoft.com/office/officeart/2005/8/layout/vList4"/>
    <dgm:cxn modelId="{30F37054-CF7B-4F1F-AFDC-29FD766CB0D0}" type="presOf" srcId="{D48427C7-8742-4474-A4AE-39C1C2351399}" destId="{C489631A-4602-42B1-8068-233BD577F31A}" srcOrd="1" destOrd="0" presId="urn:microsoft.com/office/officeart/2005/8/layout/vList4"/>
    <dgm:cxn modelId="{8E81B9ED-B658-45F2-BB12-3A0495BE1FE1}" type="presOf" srcId="{E57D8436-79E7-4A48-85CA-91A9A3079D67}" destId="{9AD616B0-004D-42B1-9A00-42DDC3877AFD}" srcOrd="0" destOrd="0" presId="urn:microsoft.com/office/officeart/2005/8/layout/vList4"/>
    <dgm:cxn modelId="{114BE916-19E3-4B11-9059-EAB36622C222}" type="presOf" srcId="{07ED29DA-F8B0-400E-B370-21956B22D797}" destId="{BF813A04-F66C-4033-A08C-E2D43A384980}" srcOrd="0" destOrd="0" presId="urn:microsoft.com/office/officeart/2005/8/layout/vList4"/>
    <dgm:cxn modelId="{800F1D91-4FA8-4355-8519-861ECDCDA222}" srcId="{009B1AC0-C1A4-4C72-B1CE-1470BFA0B8B7}" destId="{07ED29DA-F8B0-400E-B370-21956B22D797}" srcOrd="4" destOrd="0" parTransId="{2F08EF5E-6C0C-489E-9C2D-D273228C3328}" sibTransId="{A8ACCCE2-9091-4379-8B5D-4E50C487AD85}"/>
    <dgm:cxn modelId="{A2B796CC-85D8-4D3C-9261-FEA8D8DAC3EB}" type="presOf" srcId="{D48427C7-8742-4474-A4AE-39C1C2351399}" destId="{86DF658C-A47D-424A-984C-94F517B34368}" srcOrd="0" destOrd="0" presId="urn:microsoft.com/office/officeart/2005/8/layout/vList4"/>
    <dgm:cxn modelId="{D45F7141-1272-489A-A3B7-596DCB86769D}" type="presOf" srcId="{009B1AC0-C1A4-4C72-B1CE-1470BFA0B8B7}" destId="{63AA39AE-89BF-4FBB-867A-E8D2DEE2C11F}" srcOrd="0" destOrd="0" presId="urn:microsoft.com/office/officeart/2005/8/layout/vList4"/>
    <dgm:cxn modelId="{2B680FF5-7E3F-4197-A3F2-A91493448654}" type="presOf" srcId="{B25C5D3E-E500-4F0F-AB56-5E4E17621665}" destId="{D281EDB7-F17A-4F5B-A340-13DAF3316CA2}" srcOrd="1" destOrd="0" presId="urn:microsoft.com/office/officeart/2005/8/layout/vList4"/>
    <dgm:cxn modelId="{35D1F210-5A3D-4247-8C80-4F27A4D1CEB2}" type="presOf" srcId="{E1EA0F0D-CD67-41BC-AE47-2D3E7B6DC1E2}" destId="{2D044025-4DE5-444E-8B42-BA9CBA237430}" srcOrd="1" destOrd="0" presId="urn:microsoft.com/office/officeart/2005/8/layout/vList4"/>
    <dgm:cxn modelId="{2F497ABB-C2E9-48EF-B6CD-3420351BE2B1}" srcId="{009B1AC0-C1A4-4C72-B1CE-1470BFA0B8B7}" destId="{B25C5D3E-E500-4F0F-AB56-5E4E17621665}" srcOrd="0" destOrd="0" parTransId="{34BE4DE5-912B-48C2-9A1B-6A898DAC295C}" sibTransId="{2A60BD03-87B6-4039-96A5-05FD28DF2181}"/>
    <dgm:cxn modelId="{C860132C-8339-4061-869E-71F8B95E7D7F}" type="presOf" srcId="{9CF90A7C-3EDD-471F-9D8F-6346B4AFD649}" destId="{D281EDB7-F17A-4F5B-A340-13DAF3316CA2}" srcOrd="1" destOrd="1" presId="urn:microsoft.com/office/officeart/2005/8/layout/vList4"/>
    <dgm:cxn modelId="{D86E0C67-6CC8-4BF9-8407-5396531F2453}" type="presOf" srcId="{07ED29DA-F8B0-400E-B370-21956B22D797}" destId="{B913A4AA-EB23-4460-B33A-D24F8A1DB844}" srcOrd="1" destOrd="0" presId="urn:microsoft.com/office/officeart/2005/8/layout/vList4"/>
    <dgm:cxn modelId="{702A1DDF-FE92-4055-98B0-A32FC0238AED}" srcId="{B25C5D3E-E500-4F0F-AB56-5E4E17621665}" destId="{9CF90A7C-3EDD-471F-9D8F-6346B4AFD649}" srcOrd="0" destOrd="0" parTransId="{DF029256-61D4-4A38-90DC-EA1191EB2216}" sibTransId="{347BCC8D-18DE-464F-A5CA-9647AFA24DF0}"/>
    <dgm:cxn modelId="{DC530841-403D-402F-B746-4591CA1D94BE}" srcId="{009B1AC0-C1A4-4C72-B1CE-1470BFA0B8B7}" destId="{E57D8436-79E7-4A48-85CA-91A9A3079D67}" srcOrd="3" destOrd="0" parTransId="{831DB032-7A2F-4872-B165-7DC8E6499B09}" sibTransId="{FC86AC47-7A24-492A-A530-21203CED75BD}"/>
    <dgm:cxn modelId="{54008598-4A49-432E-9113-2AD21CED26D7}" type="presParOf" srcId="{63AA39AE-89BF-4FBB-867A-E8D2DEE2C11F}" destId="{BFD62D4E-1299-44B3-8E79-08D58D8D753C}" srcOrd="0" destOrd="0" presId="urn:microsoft.com/office/officeart/2005/8/layout/vList4"/>
    <dgm:cxn modelId="{A27B7860-EB63-45E4-849B-D999F36B143F}" type="presParOf" srcId="{BFD62D4E-1299-44B3-8E79-08D58D8D753C}" destId="{7E0B9BF3-9466-4443-BBD8-A2F0E482A4CB}" srcOrd="0" destOrd="0" presId="urn:microsoft.com/office/officeart/2005/8/layout/vList4"/>
    <dgm:cxn modelId="{326DF310-33F8-4F93-AC5C-1ABD2DBBFDB2}" type="presParOf" srcId="{BFD62D4E-1299-44B3-8E79-08D58D8D753C}" destId="{787F3C8A-06ED-4555-AE15-FCB827316FD2}" srcOrd="1" destOrd="0" presId="urn:microsoft.com/office/officeart/2005/8/layout/vList4"/>
    <dgm:cxn modelId="{AD527B52-2228-487B-A7F6-614BA687AA1E}" type="presParOf" srcId="{BFD62D4E-1299-44B3-8E79-08D58D8D753C}" destId="{D281EDB7-F17A-4F5B-A340-13DAF3316CA2}" srcOrd="2" destOrd="0" presId="urn:microsoft.com/office/officeart/2005/8/layout/vList4"/>
    <dgm:cxn modelId="{1A2179AD-66C0-4EFB-BF00-16DAE8A4BEA5}" type="presParOf" srcId="{63AA39AE-89BF-4FBB-867A-E8D2DEE2C11F}" destId="{2ACAE89A-D575-4F0C-B303-37AA09BAEBBC}" srcOrd="1" destOrd="0" presId="urn:microsoft.com/office/officeart/2005/8/layout/vList4"/>
    <dgm:cxn modelId="{9F0CCAC9-D305-4F1F-9092-BE9CBB8119B6}" type="presParOf" srcId="{63AA39AE-89BF-4FBB-867A-E8D2DEE2C11F}" destId="{4F99867E-F3B2-4565-9E3F-81B7D88072D5}" srcOrd="2" destOrd="0" presId="urn:microsoft.com/office/officeart/2005/8/layout/vList4"/>
    <dgm:cxn modelId="{27AA56E6-8C85-4FAB-A0C1-873CFFB19659}" type="presParOf" srcId="{4F99867E-F3B2-4565-9E3F-81B7D88072D5}" destId="{3391826C-0F35-4C54-BE8C-8F21BE9D27FF}" srcOrd="0" destOrd="0" presId="urn:microsoft.com/office/officeart/2005/8/layout/vList4"/>
    <dgm:cxn modelId="{F3D52DA5-724A-4688-A7C2-2EA2DBD5007B}" type="presParOf" srcId="{4F99867E-F3B2-4565-9E3F-81B7D88072D5}" destId="{A92DE140-E01A-4207-8E4C-55A3974F121C}" srcOrd="1" destOrd="0" presId="urn:microsoft.com/office/officeart/2005/8/layout/vList4"/>
    <dgm:cxn modelId="{5166349A-5A45-486B-83BB-C27068DD55CE}" type="presParOf" srcId="{4F99867E-F3B2-4565-9E3F-81B7D88072D5}" destId="{2D044025-4DE5-444E-8B42-BA9CBA237430}" srcOrd="2" destOrd="0" presId="urn:microsoft.com/office/officeart/2005/8/layout/vList4"/>
    <dgm:cxn modelId="{473B3AAA-0B93-453A-8CCF-5D3DF82B99F9}" type="presParOf" srcId="{63AA39AE-89BF-4FBB-867A-E8D2DEE2C11F}" destId="{F0F7CB44-6E17-4DE7-BEC7-9B08A1A18AE7}" srcOrd="3" destOrd="0" presId="urn:microsoft.com/office/officeart/2005/8/layout/vList4"/>
    <dgm:cxn modelId="{3E571C2C-65B5-4AAD-B99B-8E4902456B31}" type="presParOf" srcId="{63AA39AE-89BF-4FBB-867A-E8D2DEE2C11F}" destId="{43738BDC-7955-4F09-840A-2D5911A76C71}" srcOrd="4" destOrd="0" presId="urn:microsoft.com/office/officeart/2005/8/layout/vList4"/>
    <dgm:cxn modelId="{FEE39695-1A9E-444B-8786-539243A0C18A}" type="presParOf" srcId="{43738BDC-7955-4F09-840A-2D5911A76C71}" destId="{86DF658C-A47D-424A-984C-94F517B34368}" srcOrd="0" destOrd="0" presId="urn:microsoft.com/office/officeart/2005/8/layout/vList4"/>
    <dgm:cxn modelId="{61FAFEC1-D788-48F1-AAAA-84B5ECB20BFC}" type="presParOf" srcId="{43738BDC-7955-4F09-840A-2D5911A76C71}" destId="{A487FC20-50A9-4B5E-80DC-5C15298FA428}" srcOrd="1" destOrd="0" presId="urn:microsoft.com/office/officeart/2005/8/layout/vList4"/>
    <dgm:cxn modelId="{2E5E5283-A659-46EB-8918-DFC764B8E7DF}" type="presParOf" srcId="{43738BDC-7955-4F09-840A-2D5911A76C71}" destId="{C489631A-4602-42B1-8068-233BD577F31A}" srcOrd="2" destOrd="0" presId="urn:microsoft.com/office/officeart/2005/8/layout/vList4"/>
    <dgm:cxn modelId="{6F170E06-3ED1-4853-A15B-13DD36ABB255}" type="presParOf" srcId="{63AA39AE-89BF-4FBB-867A-E8D2DEE2C11F}" destId="{260D24C3-1994-4933-8828-D6BEDC594559}" srcOrd="5" destOrd="0" presId="urn:microsoft.com/office/officeart/2005/8/layout/vList4"/>
    <dgm:cxn modelId="{DE1490D2-5019-4615-B5DF-C3FD0B99F029}" type="presParOf" srcId="{63AA39AE-89BF-4FBB-867A-E8D2DEE2C11F}" destId="{020F4E69-4969-4277-A91B-340813DFE3F8}" srcOrd="6" destOrd="0" presId="urn:microsoft.com/office/officeart/2005/8/layout/vList4"/>
    <dgm:cxn modelId="{300EE32D-4E12-4944-9713-20172B639EE1}" type="presParOf" srcId="{020F4E69-4969-4277-A91B-340813DFE3F8}" destId="{9AD616B0-004D-42B1-9A00-42DDC3877AFD}" srcOrd="0" destOrd="0" presId="urn:microsoft.com/office/officeart/2005/8/layout/vList4"/>
    <dgm:cxn modelId="{94361F51-0A3F-4A93-905B-596BBA56D085}" type="presParOf" srcId="{020F4E69-4969-4277-A91B-340813DFE3F8}" destId="{56A7A4FB-A8C6-4321-A663-735785CABFE9}" srcOrd="1" destOrd="0" presId="urn:microsoft.com/office/officeart/2005/8/layout/vList4"/>
    <dgm:cxn modelId="{06664F73-588B-4DB4-A6C5-265F7D53461D}" type="presParOf" srcId="{020F4E69-4969-4277-A91B-340813DFE3F8}" destId="{8CBAF364-2433-4DF4-8B13-BC98DA5AEEA2}" srcOrd="2" destOrd="0" presId="urn:microsoft.com/office/officeart/2005/8/layout/vList4"/>
    <dgm:cxn modelId="{1A67A89A-D11E-4FC3-BA4A-E8570C3A06CE}" type="presParOf" srcId="{63AA39AE-89BF-4FBB-867A-E8D2DEE2C11F}" destId="{21E986F8-23D8-4C7F-8D5C-F219751A2186}" srcOrd="7" destOrd="0" presId="urn:microsoft.com/office/officeart/2005/8/layout/vList4"/>
    <dgm:cxn modelId="{28FEB082-486B-4D27-B8FE-B809EFFFA0C3}" type="presParOf" srcId="{63AA39AE-89BF-4FBB-867A-E8D2DEE2C11F}" destId="{73CFE082-B2AE-42F4-B4B2-EABE86AF4C90}" srcOrd="8" destOrd="0" presId="urn:microsoft.com/office/officeart/2005/8/layout/vList4"/>
    <dgm:cxn modelId="{F3EF29B8-E79C-49D4-897F-E159F3468C1C}" type="presParOf" srcId="{73CFE082-B2AE-42F4-B4B2-EABE86AF4C90}" destId="{BF813A04-F66C-4033-A08C-E2D43A384980}" srcOrd="0" destOrd="0" presId="urn:microsoft.com/office/officeart/2005/8/layout/vList4"/>
    <dgm:cxn modelId="{B002230C-4D7A-4436-A006-7D6FD62340DA}" type="presParOf" srcId="{73CFE082-B2AE-42F4-B4B2-EABE86AF4C90}" destId="{E2BE47C3-F626-473E-9029-A403D51DD71F}" srcOrd="1" destOrd="0" presId="urn:microsoft.com/office/officeart/2005/8/layout/vList4"/>
    <dgm:cxn modelId="{6B9BA722-30D1-4D94-953E-EC6C94E431D7}" type="presParOf" srcId="{73CFE082-B2AE-42F4-B4B2-EABE86AF4C90}" destId="{B913A4AA-EB23-4460-B33A-D24F8A1DB844}" srcOrd="2" destOrd="0" presId="urn:microsoft.com/office/officeart/2005/8/layout/vList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704DF5-F8FD-46EA-92BA-4512B542B5A7}"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en-US"/>
        </a:p>
      </dgm:t>
    </dgm:pt>
    <dgm:pt modelId="{23407AC5-3580-4EC3-BA0B-2F8AD135344E}">
      <dgm:prSet phldrT="[Text]" custT="1"/>
      <dgm:spPr/>
      <dgm:t>
        <a:bodyPr/>
        <a:lstStyle/>
        <a:p>
          <a:r>
            <a:rPr lang="en-US" sz="3200" dirty="0" smtClean="0"/>
            <a:t>Co-infection between TB and HIV</a:t>
          </a:r>
          <a:endParaRPr lang="en-US" sz="3200" dirty="0"/>
        </a:p>
      </dgm:t>
    </dgm:pt>
    <dgm:pt modelId="{C3347580-2F44-4DE6-9B4F-326EF1B7419A}" type="parTrans" cxnId="{82388E4F-8A84-4AAF-BB30-60B99C53D355}">
      <dgm:prSet/>
      <dgm:spPr/>
      <dgm:t>
        <a:bodyPr/>
        <a:lstStyle/>
        <a:p>
          <a:endParaRPr lang="en-US"/>
        </a:p>
      </dgm:t>
    </dgm:pt>
    <dgm:pt modelId="{1A96358B-A891-4491-BD84-1AA50946FB30}" type="sibTrans" cxnId="{82388E4F-8A84-4AAF-BB30-60B99C53D355}">
      <dgm:prSet/>
      <dgm:spPr/>
      <dgm:t>
        <a:bodyPr/>
        <a:lstStyle/>
        <a:p>
          <a:endParaRPr lang="en-US"/>
        </a:p>
      </dgm:t>
    </dgm:pt>
    <dgm:pt modelId="{5E3AF99F-A584-4708-B3F9-C5CD1DCFF2CB}">
      <dgm:prSet phldrT="[Text]" custT="1"/>
      <dgm:spPr/>
      <dgm:t>
        <a:bodyPr/>
        <a:lstStyle/>
        <a:p>
          <a:r>
            <a:rPr lang="en-US" sz="2000" dirty="0" smtClean="0"/>
            <a:t>Multidrug-resistant TB</a:t>
          </a:r>
          <a:endParaRPr lang="en-US" sz="2000" dirty="0"/>
        </a:p>
      </dgm:t>
    </dgm:pt>
    <dgm:pt modelId="{A448AD61-60D3-4025-BF9F-8F85D264DC5B}" type="parTrans" cxnId="{54209338-A8B1-49DD-B5CB-F97440988AFA}">
      <dgm:prSet/>
      <dgm:spPr/>
      <dgm:t>
        <a:bodyPr/>
        <a:lstStyle/>
        <a:p>
          <a:endParaRPr lang="en-US"/>
        </a:p>
      </dgm:t>
    </dgm:pt>
    <dgm:pt modelId="{92F55F84-07EE-4DD3-841D-A7C889EAF9B3}" type="sibTrans" cxnId="{54209338-A8B1-49DD-B5CB-F97440988AFA}">
      <dgm:prSet/>
      <dgm:spPr/>
      <dgm:t>
        <a:bodyPr/>
        <a:lstStyle/>
        <a:p>
          <a:endParaRPr lang="en-US"/>
        </a:p>
      </dgm:t>
    </dgm:pt>
    <dgm:pt modelId="{E854F179-86A3-4076-A95F-FEE632F33F99}">
      <dgm:prSet phldrT="[Text]" custT="1"/>
      <dgm:spPr/>
      <dgm:t>
        <a:bodyPr/>
        <a:lstStyle/>
        <a:p>
          <a:r>
            <a:rPr lang="en-US" sz="2000" dirty="0" smtClean="0"/>
            <a:t>Extensively-drug resistant TB</a:t>
          </a:r>
          <a:endParaRPr lang="en-US" sz="2000" dirty="0"/>
        </a:p>
      </dgm:t>
    </dgm:pt>
    <dgm:pt modelId="{498CC9FB-0E20-4AF0-A34F-9AA7D168D987}" type="parTrans" cxnId="{E62E8AB5-F054-4C5D-B619-E69CA9D27875}">
      <dgm:prSet/>
      <dgm:spPr/>
      <dgm:t>
        <a:bodyPr/>
        <a:lstStyle/>
        <a:p>
          <a:endParaRPr lang="en-US"/>
        </a:p>
      </dgm:t>
    </dgm:pt>
    <dgm:pt modelId="{01808411-65DA-487C-901B-28BC1938E389}" type="sibTrans" cxnId="{E62E8AB5-F054-4C5D-B619-E69CA9D27875}">
      <dgm:prSet/>
      <dgm:spPr/>
      <dgm:t>
        <a:bodyPr/>
        <a:lstStyle/>
        <a:p>
          <a:endParaRPr lang="en-US"/>
        </a:p>
      </dgm:t>
    </dgm:pt>
    <dgm:pt modelId="{EF4CB8DA-07AC-41F3-A619-5992BD37E574}">
      <dgm:prSet custT="1"/>
      <dgm:spPr/>
      <dgm:t>
        <a:bodyPr/>
        <a:lstStyle/>
        <a:p>
          <a:r>
            <a:rPr lang="en-US" sz="2000" dirty="0" smtClean="0">
              <a:solidFill>
                <a:srgbClr val="FFFF00"/>
              </a:solidFill>
            </a:rPr>
            <a:t>Totally drug resistant TB?</a:t>
          </a:r>
          <a:endParaRPr lang="en-US" sz="2000" dirty="0">
            <a:solidFill>
              <a:srgbClr val="FFFF00"/>
            </a:solidFill>
          </a:endParaRPr>
        </a:p>
      </dgm:t>
    </dgm:pt>
    <dgm:pt modelId="{B7488E50-EB37-4111-B88C-5539DBB08E9A}" type="parTrans" cxnId="{6CF74409-FC5A-49A1-ACED-E33317DA5C2A}">
      <dgm:prSet/>
      <dgm:spPr/>
      <dgm:t>
        <a:bodyPr/>
        <a:lstStyle/>
        <a:p>
          <a:endParaRPr lang="en-US"/>
        </a:p>
      </dgm:t>
    </dgm:pt>
    <dgm:pt modelId="{DFAD33E2-E5A9-4015-96CE-57D24967E47E}" type="sibTrans" cxnId="{6CF74409-FC5A-49A1-ACED-E33317DA5C2A}">
      <dgm:prSet/>
      <dgm:spPr/>
      <dgm:t>
        <a:bodyPr/>
        <a:lstStyle/>
        <a:p>
          <a:endParaRPr lang="en-US"/>
        </a:p>
      </dgm:t>
    </dgm:pt>
    <dgm:pt modelId="{2FC72B28-E8D2-4563-B10C-79DEA5CBF8BC}">
      <dgm:prSet/>
      <dgm:spPr/>
      <dgm:t>
        <a:bodyPr/>
        <a:lstStyle/>
        <a:p>
          <a:endParaRPr lang="en-US"/>
        </a:p>
      </dgm:t>
    </dgm:pt>
    <dgm:pt modelId="{F33B0DBF-B9EB-4696-866F-28EE8D5720B7}" type="parTrans" cxnId="{63715F73-3548-4C9B-AB77-0A7F45E6CE37}">
      <dgm:prSet/>
      <dgm:spPr/>
      <dgm:t>
        <a:bodyPr/>
        <a:lstStyle/>
        <a:p>
          <a:endParaRPr lang="en-US"/>
        </a:p>
      </dgm:t>
    </dgm:pt>
    <dgm:pt modelId="{B6087A42-D828-4AA3-8E5B-681145AE4007}" type="sibTrans" cxnId="{63715F73-3548-4C9B-AB77-0A7F45E6CE37}">
      <dgm:prSet/>
      <dgm:spPr/>
      <dgm:t>
        <a:bodyPr/>
        <a:lstStyle/>
        <a:p>
          <a:endParaRPr lang="en-US"/>
        </a:p>
      </dgm:t>
    </dgm:pt>
    <dgm:pt modelId="{B669D1B0-F41F-4F2A-920A-10EB1CCA7D0A}" type="pres">
      <dgm:prSet presAssocID="{CE704DF5-F8FD-46EA-92BA-4512B542B5A7}" presName="Name0" presStyleCnt="0">
        <dgm:presLayoutVars>
          <dgm:chMax val="1"/>
          <dgm:chPref val="1"/>
        </dgm:presLayoutVars>
      </dgm:prSet>
      <dgm:spPr/>
      <dgm:t>
        <a:bodyPr/>
        <a:lstStyle/>
        <a:p>
          <a:endParaRPr lang="en-US"/>
        </a:p>
      </dgm:t>
    </dgm:pt>
    <dgm:pt modelId="{5E114E7B-A9F0-486D-8A19-FA1735AC0FB7}" type="pres">
      <dgm:prSet presAssocID="{23407AC5-3580-4EC3-BA0B-2F8AD135344E}" presName="Parent" presStyleLbl="node0" presStyleIdx="0" presStyleCnt="1">
        <dgm:presLayoutVars>
          <dgm:chMax val="5"/>
          <dgm:chPref val="5"/>
        </dgm:presLayoutVars>
      </dgm:prSet>
      <dgm:spPr/>
      <dgm:t>
        <a:bodyPr/>
        <a:lstStyle/>
        <a:p>
          <a:endParaRPr lang="en-US"/>
        </a:p>
      </dgm:t>
    </dgm:pt>
    <dgm:pt modelId="{D20ADC57-BC65-4851-BE56-C31BEDC8DF6A}" type="pres">
      <dgm:prSet presAssocID="{23407AC5-3580-4EC3-BA0B-2F8AD135344E}" presName="Accent1" presStyleLbl="node1" presStyleIdx="0" presStyleCnt="15"/>
      <dgm:spPr/>
    </dgm:pt>
    <dgm:pt modelId="{E495C007-FF97-424D-BB9B-842158F0B06F}" type="pres">
      <dgm:prSet presAssocID="{23407AC5-3580-4EC3-BA0B-2F8AD135344E}" presName="Accent2" presStyleLbl="node1" presStyleIdx="1" presStyleCnt="15"/>
      <dgm:spPr/>
    </dgm:pt>
    <dgm:pt modelId="{701FF138-1E2B-48D1-8B02-2A083A9A04BA}" type="pres">
      <dgm:prSet presAssocID="{23407AC5-3580-4EC3-BA0B-2F8AD135344E}" presName="Accent3" presStyleLbl="node1" presStyleIdx="2" presStyleCnt="15"/>
      <dgm:spPr/>
    </dgm:pt>
    <dgm:pt modelId="{49000F77-03A6-4CB8-BD23-EB4D8ECB7C8E}" type="pres">
      <dgm:prSet presAssocID="{23407AC5-3580-4EC3-BA0B-2F8AD135344E}" presName="Accent4" presStyleLbl="node1" presStyleIdx="3" presStyleCnt="15"/>
      <dgm:spPr/>
    </dgm:pt>
    <dgm:pt modelId="{724A16E9-9BB7-4D9C-9631-2D8DF5FBDA38}" type="pres">
      <dgm:prSet presAssocID="{23407AC5-3580-4EC3-BA0B-2F8AD135344E}" presName="Accent5" presStyleLbl="node1" presStyleIdx="4" presStyleCnt="15"/>
      <dgm:spPr/>
    </dgm:pt>
    <dgm:pt modelId="{FB548066-51B8-4731-94F0-46CA6E6881FB}" type="pres">
      <dgm:prSet presAssocID="{23407AC5-3580-4EC3-BA0B-2F8AD135344E}" presName="Accent6" presStyleLbl="node1" presStyleIdx="5" presStyleCnt="15"/>
      <dgm:spPr/>
    </dgm:pt>
    <dgm:pt modelId="{9049FE29-4240-4E81-BAF8-5F6967FAEFAE}" type="pres">
      <dgm:prSet presAssocID="{5E3AF99F-A584-4708-B3F9-C5CD1DCFF2CB}" presName="Child1" presStyleLbl="node1" presStyleIdx="6" presStyleCnt="15">
        <dgm:presLayoutVars>
          <dgm:chMax val="0"/>
          <dgm:chPref val="0"/>
        </dgm:presLayoutVars>
      </dgm:prSet>
      <dgm:spPr/>
      <dgm:t>
        <a:bodyPr/>
        <a:lstStyle/>
        <a:p>
          <a:endParaRPr lang="en-US"/>
        </a:p>
      </dgm:t>
    </dgm:pt>
    <dgm:pt modelId="{856B2F5E-365D-4377-A50C-667275AA5093}" type="pres">
      <dgm:prSet presAssocID="{5E3AF99F-A584-4708-B3F9-C5CD1DCFF2CB}" presName="Accent7" presStyleCnt="0"/>
      <dgm:spPr/>
    </dgm:pt>
    <dgm:pt modelId="{ECEED026-E271-470A-B770-B4310776FA7D}" type="pres">
      <dgm:prSet presAssocID="{5E3AF99F-A584-4708-B3F9-C5CD1DCFF2CB}" presName="AccentHold1" presStyleLbl="node1" presStyleIdx="7" presStyleCnt="15"/>
      <dgm:spPr/>
    </dgm:pt>
    <dgm:pt modelId="{7A0F32D6-E965-44A9-96E8-84D3AE2763E5}" type="pres">
      <dgm:prSet presAssocID="{5E3AF99F-A584-4708-B3F9-C5CD1DCFF2CB}" presName="Accent8" presStyleCnt="0"/>
      <dgm:spPr/>
    </dgm:pt>
    <dgm:pt modelId="{468D2C51-F312-4EC4-93BC-22BB540FBD32}" type="pres">
      <dgm:prSet presAssocID="{5E3AF99F-A584-4708-B3F9-C5CD1DCFF2CB}" presName="AccentHold2" presStyleLbl="node1" presStyleIdx="8" presStyleCnt="15"/>
      <dgm:spPr/>
    </dgm:pt>
    <dgm:pt modelId="{3401B80D-6FD1-4D5C-85B8-DF76FDCC6A5F}" type="pres">
      <dgm:prSet presAssocID="{E854F179-86A3-4076-A95F-FEE632F33F99}" presName="Child2" presStyleLbl="node1" presStyleIdx="9" presStyleCnt="15" custScaleX="115075">
        <dgm:presLayoutVars>
          <dgm:chMax val="0"/>
          <dgm:chPref val="0"/>
        </dgm:presLayoutVars>
      </dgm:prSet>
      <dgm:spPr/>
      <dgm:t>
        <a:bodyPr/>
        <a:lstStyle/>
        <a:p>
          <a:endParaRPr lang="en-US"/>
        </a:p>
      </dgm:t>
    </dgm:pt>
    <dgm:pt modelId="{A9B8A371-97D1-4382-A99B-82B6C6ACC6B4}" type="pres">
      <dgm:prSet presAssocID="{E854F179-86A3-4076-A95F-FEE632F33F99}" presName="Accent9" presStyleCnt="0"/>
      <dgm:spPr/>
    </dgm:pt>
    <dgm:pt modelId="{18FE1DF5-E97B-4F3A-9283-A35D58B51952}" type="pres">
      <dgm:prSet presAssocID="{E854F179-86A3-4076-A95F-FEE632F33F99}" presName="AccentHold1" presStyleLbl="node1" presStyleIdx="10" presStyleCnt="15"/>
      <dgm:spPr/>
    </dgm:pt>
    <dgm:pt modelId="{5302B35B-E7E7-49D1-B04A-92E54250ADCF}" type="pres">
      <dgm:prSet presAssocID="{E854F179-86A3-4076-A95F-FEE632F33F99}" presName="Accent10" presStyleCnt="0"/>
      <dgm:spPr/>
    </dgm:pt>
    <dgm:pt modelId="{02F91C60-A9FC-43F9-A41D-DE9D95049364}" type="pres">
      <dgm:prSet presAssocID="{E854F179-86A3-4076-A95F-FEE632F33F99}" presName="AccentHold2" presStyleLbl="node1" presStyleIdx="11" presStyleCnt="15"/>
      <dgm:spPr/>
    </dgm:pt>
    <dgm:pt modelId="{A855AE61-AA6F-451C-857F-1DC06B60D174}" type="pres">
      <dgm:prSet presAssocID="{E854F179-86A3-4076-A95F-FEE632F33F99}" presName="Accent11" presStyleCnt="0"/>
      <dgm:spPr/>
    </dgm:pt>
    <dgm:pt modelId="{082F89DB-DCFB-4498-85C8-A4F236440F24}" type="pres">
      <dgm:prSet presAssocID="{E854F179-86A3-4076-A95F-FEE632F33F99}" presName="AccentHold3" presStyleLbl="node1" presStyleIdx="12" presStyleCnt="15"/>
      <dgm:spPr/>
    </dgm:pt>
    <dgm:pt modelId="{F052E9F2-70AC-460B-BE76-032BDB3CF950}" type="pres">
      <dgm:prSet presAssocID="{EF4CB8DA-07AC-41F3-A619-5992BD37E574}" presName="Child3" presStyleLbl="node1" presStyleIdx="13" presStyleCnt="15">
        <dgm:presLayoutVars>
          <dgm:chMax val="0"/>
          <dgm:chPref val="0"/>
        </dgm:presLayoutVars>
      </dgm:prSet>
      <dgm:spPr/>
      <dgm:t>
        <a:bodyPr/>
        <a:lstStyle/>
        <a:p>
          <a:endParaRPr lang="en-US"/>
        </a:p>
      </dgm:t>
    </dgm:pt>
    <dgm:pt modelId="{F41D9197-EBA4-4CC5-89A1-CDD45A33E08D}" type="pres">
      <dgm:prSet presAssocID="{EF4CB8DA-07AC-41F3-A619-5992BD37E574}" presName="Accent12" presStyleCnt="0"/>
      <dgm:spPr/>
    </dgm:pt>
    <dgm:pt modelId="{09A9B7AB-2D9F-4079-B8C8-C4C7DA4B9449}" type="pres">
      <dgm:prSet presAssocID="{EF4CB8DA-07AC-41F3-A619-5992BD37E574}" presName="AccentHold1" presStyleLbl="node1" presStyleIdx="14" presStyleCnt="15"/>
      <dgm:spPr/>
    </dgm:pt>
  </dgm:ptLst>
  <dgm:cxnLst>
    <dgm:cxn modelId="{97ECCEA1-327A-4D53-AAC8-ECD82022D96E}" type="presOf" srcId="{5E3AF99F-A584-4708-B3F9-C5CD1DCFF2CB}" destId="{9049FE29-4240-4E81-BAF8-5F6967FAEFAE}" srcOrd="0" destOrd="0" presId="urn:microsoft.com/office/officeart/2009/3/layout/CircleRelationship"/>
    <dgm:cxn modelId="{229CCDEB-7C6A-44A9-975A-A4207C67613A}" type="presOf" srcId="{CE704DF5-F8FD-46EA-92BA-4512B542B5A7}" destId="{B669D1B0-F41F-4F2A-920A-10EB1CCA7D0A}" srcOrd="0" destOrd="0" presId="urn:microsoft.com/office/officeart/2009/3/layout/CircleRelationship"/>
    <dgm:cxn modelId="{82388E4F-8A84-4AAF-BB30-60B99C53D355}" srcId="{CE704DF5-F8FD-46EA-92BA-4512B542B5A7}" destId="{23407AC5-3580-4EC3-BA0B-2F8AD135344E}" srcOrd="0" destOrd="0" parTransId="{C3347580-2F44-4DE6-9B4F-326EF1B7419A}" sibTransId="{1A96358B-A891-4491-BD84-1AA50946FB30}"/>
    <dgm:cxn modelId="{E62E8AB5-F054-4C5D-B619-E69CA9D27875}" srcId="{23407AC5-3580-4EC3-BA0B-2F8AD135344E}" destId="{E854F179-86A3-4076-A95F-FEE632F33F99}" srcOrd="1" destOrd="0" parTransId="{498CC9FB-0E20-4AF0-A34F-9AA7D168D987}" sibTransId="{01808411-65DA-487C-901B-28BC1938E389}"/>
    <dgm:cxn modelId="{63715F73-3548-4C9B-AB77-0A7F45E6CE37}" srcId="{CE704DF5-F8FD-46EA-92BA-4512B542B5A7}" destId="{2FC72B28-E8D2-4563-B10C-79DEA5CBF8BC}" srcOrd="1" destOrd="0" parTransId="{F33B0DBF-B9EB-4696-866F-28EE8D5720B7}" sibTransId="{B6087A42-D828-4AA3-8E5B-681145AE4007}"/>
    <dgm:cxn modelId="{190403D3-13AC-40B2-9FAE-46C7F0D73433}" type="presOf" srcId="{E854F179-86A3-4076-A95F-FEE632F33F99}" destId="{3401B80D-6FD1-4D5C-85B8-DF76FDCC6A5F}" srcOrd="0" destOrd="0" presId="urn:microsoft.com/office/officeart/2009/3/layout/CircleRelationship"/>
    <dgm:cxn modelId="{15DEA268-B9B0-4247-8097-F5452B949DC6}" type="presOf" srcId="{EF4CB8DA-07AC-41F3-A619-5992BD37E574}" destId="{F052E9F2-70AC-460B-BE76-032BDB3CF950}" srcOrd="0" destOrd="0" presId="urn:microsoft.com/office/officeart/2009/3/layout/CircleRelationship"/>
    <dgm:cxn modelId="{54209338-A8B1-49DD-B5CB-F97440988AFA}" srcId="{23407AC5-3580-4EC3-BA0B-2F8AD135344E}" destId="{5E3AF99F-A584-4708-B3F9-C5CD1DCFF2CB}" srcOrd="0" destOrd="0" parTransId="{A448AD61-60D3-4025-BF9F-8F85D264DC5B}" sibTransId="{92F55F84-07EE-4DD3-841D-A7C889EAF9B3}"/>
    <dgm:cxn modelId="{B05D52CC-BE51-41F0-BB58-5A2C49297295}" type="presOf" srcId="{23407AC5-3580-4EC3-BA0B-2F8AD135344E}" destId="{5E114E7B-A9F0-486D-8A19-FA1735AC0FB7}" srcOrd="0" destOrd="0" presId="urn:microsoft.com/office/officeart/2009/3/layout/CircleRelationship"/>
    <dgm:cxn modelId="{6CF74409-FC5A-49A1-ACED-E33317DA5C2A}" srcId="{23407AC5-3580-4EC3-BA0B-2F8AD135344E}" destId="{EF4CB8DA-07AC-41F3-A619-5992BD37E574}" srcOrd="2" destOrd="0" parTransId="{B7488E50-EB37-4111-B88C-5539DBB08E9A}" sibTransId="{DFAD33E2-E5A9-4015-96CE-57D24967E47E}"/>
    <dgm:cxn modelId="{4EDCFCFE-A54A-493F-9011-568A9862AC03}" type="presParOf" srcId="{B669D1B0-F41F-4F2A-920A-10EB1CCA7D0A}" destId="{5E114E7B-A9F0-486D-8A19-FA1735AC0FB7}" srcOrd="0" destOrd="0" presId="urn:microsoft.com/office/officeart/2009/3/layout/CircleRelationship"/>
    <dgm:cxn modelId="{CD6E5DB2-2334-401C-B548-80DB587348A7}" type="presParOf" srcId="{B669D1B0-F41F-4F2A-920A-10EB1CCA7D0A}" destId="{D20ADC57-BC65-4851-BE56-C31BEDC8DF6A}" srcOrd="1" destOrd="0" presId="urn:microsoft.com/office/officeart/2009/3/layout/CircleRelationship"/>
    <dgm:cxn modelId="{9B4A27D8-FBD9-4FB0-BD07-6514F4C25359}" type="presParOf" srcId="{B669D1B0-F41F-4F2A-920A-10EB1CCA7D0A}" destId="{E495C007-FF97-424D-BB9B-842158F0B06F}" srcOrd="2" destOrd="0" presId="urn:microsoft.com/office/officeart/2009/3/layout/CircleRelationship"/>
    <dgm:cxn modelId="{74360EDE-413D-41BD-B011-E52ECF4E06B8}" type="presParOf" srcId="{B669D1B0-F41F-4F2A-920A-10EB1CCA7D0A}" destId="{701FF138-1E2B-48D1-8B02-2A083A9A04BA}" srcOrd="3" destOrd="0" presId="urn:microsoft.com/office/officeart/2009/3/layout/CircleRelationship"/>
    <dgm:cxn modelId="{B2BF8524-266E-4F3F-9945-6D5C5B0A6084}" type="presParOf" srcId="{B669D1B0-F41F-4F2A-920A-10EB1CCA7D0A}" destId="{49000F77-03A6-4CB8-BD23-EB4D8ECB7C8E}" srcOrd="4" destOrd="0" presId="urn:microsoft.com/office/officeart/2009/3/layout/CircleRelationship"/>
    <dgm:cxn modelId="{E8847058-CD36-4876-9F46-5F3A57924E36}" type="presParOf" srcId="{B669D1B0-F41F-4F2A-920A-10EB1CCA7D0A}" destId="{724A16E9-9BB7-4D9C-9631-2D8DF5FBDA38}" srcOrd="5" destOrd="0" presId="urn:microsoft.com/office/officeart/2009/3/layout/CircleRelationship"/>
    <dgm:cxn modelId="{847CC97C-3BDC-456C-A77B-A422243A45F1}" type="presParOf" srcId="{B669D1B0-F41F-4F2A-920A-10EB1CCA7D0A}" destId="{FB548066-51B8-4731-94F0-46CA6E6881FB}" srcOrd="6" destOrd="0" presId="urn:microsoft.com/office/officeart/2009/3/layout/CircleRelationship"/>
    <dgm:cxn modelId="{5A215ED5-F817-4EC5-B570-98E6E693B5AB}" type="presParOf" srcId="{B669D1B0-F41F-4F2A-920A-10EB1CCA7D0A}" destId="{9049FE29-4240-4E81-BAF8-5F6967FAEFAE}" srcOrd="7" destOrd="0" presId="urn:microsoft.com/office/officeart/2009/3/layout/CircleRelationship"/>
    <dgm:cxn modelId="{966BEE2B-425B-492D-BD8D-1C1D44462EC0}" type="presParOf" srcId="{B669D1B0-F41F-4F2A-920A-10EB1CCA7D0A}" destId="{856B2F5E-365D-4377-A50C-667275AA5093}" srcOrd="8" destOrd="0" presId="urn:microsoft.com/office/officeart/2009/3/layout/CircleRelationship"/>
    <dgm:cxn modelId="{26D9FFBF-460D-4742-A5F7-64A18DEBF099}" type="presParOf" srcId="{856B2F5E-365D-4377-A50C-667275AA5093}" destId="{ECEED026-E271-470A-B770-B4310776FA7D}" srcOrd="0" destOrd="0" presId="urn:microsoft.com/office/officeart/2009/3/layout/CircleRelationship"/>
    <dgm:cxn modelId="{1F9489ED-45DF-4FDE-8EA5-71ECAEFEB546}" type="presParOf" srcId="{B669D1B0-F41F-4F2A-920A-10EB1CCA7D0A}" destId="{7A0F32D6-E965-44A9-96E8-84D3AE2763E5}" srcOrd="9" destOrd="0" presId="urn:microsoft.com/office/officeart/2009/3/layout/CircleRelationship"/>
    <dgm:cxn modelId="{AD34BB53-01F8-4322-9295-AF5D606AD38E}" type="presParOf" srcId="{7A0F32D6-E965-44A9-96E8-84D3AE2763E5}" destId="{468D2C51-F312-4EC4-93BC-22BB540FBD32}" srcOrd="0" destOrd="0" presId="urn:microsoft.com/office/officeart/2009/3/layout/CircleRelationship"/>
    <dgm:cxn modelId="{B68E5FCE-FD26-4586-9963-8F72E1E89674}" type="presParOf" srcId="{B669D1B0-F41F-4F2A-920A-10EB1CCA7D0A}" destId="{3401B80D-6FD1-4D5C-85B8-DF76FDCC6A5F}" srcOrd="10" destOrd="0" presId="urn:microsoft.com/office/officeart/2009/3/layout/CircleRelationship"/>
    <dgm:cxn modelId="{13DAB0AC-71B3-48BA-A244-556D7E508140}" type="presParOf" srcId="{B669D1B0-F41F-4F2A-920A-10EB1CCA7D0A}" destId="{A9B8A371-97D1-4382-A99B-82B6C6ACC6B4}" srcOrd="11" destOrd="0" presId="urn:microsoft.com/office/officeart/2009/3/layout/CircleRelationship"/>
    <dgm:cxn modelId="{845A3646-697E-4A25-B8A3-7F85A553D529}" type="presParOf" srcId="{A9B8A371-97D1-4382-A99B-82B6C6ACC6B4}" destId="{18FE1DF5-E97B-4F3A-9283-A35D58B51952}" srcOrd="0" destOrd="0" presId="urn:microsoft.com/office/officeart/2009/3/layout/CircleRelationship"/>
    <dgm:cxn modelId="{547EE179-165C-4CF5-AC59-D4B93D7696E8}" type="presParOf" srcId="{B669D1B0-F41F-4F2A-920A-10EB1CCA7D0A}" destId="{5302B35B-E7E7-49D1-B04A-92E54250ADCF}" srcOrd="12" destOrd="0" presId="urn:microsoft.com/office/officeart/2009/3/layout/CircleRelationship"/>
    <dgm:cxn modelId="{08ECCD18-6A12-407C-A4E8-B1E968DBBB3E}" type="presParOf" srcId="{5302B35B-E7E7-49D1-B04A-92E54250ADCF}" destId="{02F91C60-A9FC-43F9-A41D-DE9D95049364}" srcOrd="0" destOrd="0" presId="urn:microsoft.com/office/officeart/2009/3/layout/CircleRelationship"/>
    <dgm:cxn modelId="{B3CFBE7C-E733-4B7D-ADE4-1D8757AF59E2}" type="presParOf" srcId="{B669D1B0-F41F-4F2A-920A-10EB1CCA7D0A}" destId="{A855AE61-AA6F-451C-857F-1DC06B60D174}" srcOrd="13" destOrd="0" presId="urn:microsoft.com/office/officeart/2009/3/layout/CircleRelationship"/>
    <dgm:cxn modelId="{9B2C931C-CC97-4DAA-B5BC-CD568EF9D329}" type="presParOf" srcId="{A855AE61-AA6F-451C-857F-1DC06B60D174}" destId="{082F89DB-DCFB-4498-85C8-A4F236440F24}" srcOrd="0" destOrd="0" presId="urn:microsoft.com/office/officeart/2009/3/layout/CircleRelationship"/>
    <dgm:cxn modelId="{09CCCE7C-1503-43E2-9074-B76FA641A9C0}" type="presParOf" srcId="{B669D1B0-F41F-4F2A-920A-10EB1CCA7D0A}" destId="{F052E9F2-70AC-460B-BE76-032BDB3CF950}" srcOrd="14" destOrd="0" presId="urn:microsoft.com/office/officeart/2009/3/layout/CircleRelationship"/>
    <dgm:cxn modelId="{CA3BABC7-5440-4A26-B0A8-24A5FDB96DE2}" type="presParOf" srcId="{B669D1B0-F41F-4F2A-920A-10EB1CCA7D0A}" destId="{F41D9197-EBA4-4CC5-89A1-CDD45A33E08D}" srcOrd="15" destOrd="0" presId="urn:microsoft.com/office/officeart/2009/3/layout/CircleRelationship"/>
    <dgm:cxn modelId="{FF12CF7F-A834-4078-B756-D08914ABFDDE}" type="presParOf" srcId="{F41D9197-EBA4-4CC5-89A1-CDD45A33E08D}" destId="{09A9B7AB-2D9F-4079-B8C8-C4C7DA4B9449}" srcOrd="0" destOrd="0" presId="urn:microsoft.com/office/officeart/2009/3/layout/CircleRelationship"/>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8835</cdr:x>
      <cdr:y>0.56647</cdr:y>
    </cdr:from>
    <cdr:to>
      <cdr:x>0.96117</cdr:x>
      <cdr:y>0.67052</cdr:y>
    </cdr:to>
    <cdr:sp macro="" textlink="">
      <cdr:nvSpPr>
        <cdr:cNvPr id="2" name="TextBox 1"/>
        <cdr:cNvSpPr txBox="1"/>
      </cdr:nvSpPr>
      <cdr:spPr>
        <a:xfrm xmlns:a="http://schemas.openxmlformats.org/drawingml/2006/main">
          <a:off x="6934200" y="2489200"/>
          <a:ext cx="609600" cy="4572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93204</cdr:x>
      <cdr:y>0.53179</cdr:y>
    </cdr:from>
    <cdr:to>
      <cdr:x>1</cdr:x>
      <cdr:y>0.63584</cdr:y>
    </cdr:to>
    <cdr:sp macro="" textlink="">
      <cdr:nvSpPr>
        <cdr:cNvPr id="3" name="TextBox 2"/>
        <cdr:cNvSpPr txBox="1"/>
      </cdr:nvSpPr>
      <cdr:spPr>
        <a:xfrm xmlns:a="http://schemas.openxmlformats.org/drawingml/2006/main">
          <a:off x="7315200" y="2336800"/>
          <a:ext cx="533400" cy="4572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800" dirty="0" smtClean="0"/>
            <a:t>+1.7%</a:t>
          </a:r>
          <a:endParaRPr lang="en-US" sz="8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5D4BDDD-7B34-4EDE-969E-70FC53E16A87}" type="datetimeFigureOut">
              <a:rPr lang="en-US" smtClean="0"/>
              <a:t>3/30/2016</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50E343C-2ACB-47AB-B73F-3D87E46D0FED}" type="slidenum">
              <a:rPr lang="en-US" smtClean="0"/>
              <a:t>‹#›</a:t>
            </a:fld>
            <a:endParaRPr lang="en-US" dirty="0"/>
          </a:p>
        </p:txBody>
      </p:sp>
    </p:spTree>
    <p:extLst>
      <p:ext uri="{BB962C8B-B14F-4D97-AF65-F5344CB8AC3E}">
        <p14:creationId xmlns:p14="http://schemas.microsoft.com/office/powerpoint/2010/main" val="11613324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27B8B7-61BF-43EA-8059-BAA6C9B14B7A}" type="datetimeFigureOut">
              <a:rPr lang="en-US" smtClean="0"/>
              <a:t>3/30/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F45AAE8-01E1-4B54-A344-C1F6D99E7C61}" type="slidenum">
              <a:rPr lang="en-US" smtClean="0"/>
              <a:t>‹#›</a:t>
            </a:fld>
            <a:endParaRPr lang="en-US" dirty="0"/>
          </a:p>
        </p:txBody>
      </p:sp>
    </p:spTree>
    <p:extLst>
      <p:ext uri="{BB962C8B-B14F-4D97-AF65-F5344CB8AC3E}">
        <p14:creationId xmlns:p14="http://schemas.microsoft.com/office/powerpoint/2010/main" val="1471790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4F7A59-3251-40FF-B9E9-BB882E003890}"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6118896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228600" indent="-228600">
              <a:buFontTx/>
              <a:buAutoNum type="arabicPeriod"/>
              <a:defRPr/>
            </a:pPr>
            <a:r>
              <a:rPr lang="en-US" dirty="0" smtClean="0"/>
              <a:t>Calculation done in Excel</a:t>
            </a:r>
          </a:p>
          <a:p>
            <a:pPr marL="228600" indent="-228600">
              <a:buFontTx/>
              <a:buAutoNum type="arabicPeriod"/>
              <a:defRPr/>
            </a:pPr>
            <a:r>
              <a:rPr lang="en-US" dirty="0" smtClean="0"/>
              <a:t>3xs gross national income (GNI) per capita = cost-effective, $150,360; 1x GNI per capita = highly cost-effective, $50,120</a:t>
            </a:r>
          </a:p>
          <a:p>
            <a:pPr marL="228600" indent="-228600">
              <a:buFontTx/>
              <a:buAutoNum type="arabicPeriod"/>
              <a:defRPr/>
            </a:pPr>
            <a:r>
              <a:rPr lang="en-US" dirty="0" smtClean="0"/>
              <a:t>Also calculated deaths averted, but the difference crossed the zero threshold suggesting the findings were not significant. In the majority of sensitivity analyses the BCM cohort averted a fraction of one death;</a:t>
            </a:r>
          </a:p>
          <a:p>
            <a:pPr marL="228600" indent="-228600">
              <a:buFontTx/>
              <a:buAutoNum type="arabicPeriod"/>
              <a:defRPr/>
            </a:pPr>
            <a:endParaRPr lang="en-US" dirty="0" smtClean="0"/>
          </a:p>
          <a:p>
            <a:pPr>
              <a:defRPr/>
            </a:pPr>
            <a:endParaRPr lang="en-US" dirty="0"/>
          </a:p>
        </p:txBody>
      </p:sp>
      <p:sp>
        <p:nvSpPr>
          <p:cNvPr id="4" name="Slide Number Placeholder 3"/>
          <p:cNvSpPr>
            <a:spLocks noGrp="1"/>
          </p:cNvSpPr>
          <p:nvPr>
            <p:ph type="sldNum" sz="quarter" idx="5"/>
          </p:nvPr>
        </p:nvSpPr>
        <p:spPr/>
        <p:txBody>
          <a:bodyPr/>
          <a:lstStyle/>
          <a:p>
            <a:pPr>
              <a:defRPr/>
            </a:pPr>
            <a:fld id="{F957D9A3-B396-4E24-9570-1DAB8BCE0351}" type="slidenum">
              <a:rPr lang="en-US" smtClean="0"/>
              <a:pPr>
                <a:defRPr/>
              </a:pPr>
              <a:t>62</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228600" indent="-228600">
              <a:buFontTx/>
              <a:buAutoNum type="arabicPeriod"/>
              <a:defRPr/>
            </a:pPr>
            <a:r>
              <a:rPr lang="en-US" dirty="0" smtClean="0"/>
              <a:t>Hypothesis was that BCM will be cost-effective</a:t>
            </a:r>
          </a:p>
          <a:p>
            <a:pPr marL="228600" indent="-228600">
              <a:buFontTx/>
              <a:buAutoNum type="arabicPeriod"/>
              <a:defRPr/>
            </a:pPr>
            <a:r>
              <a:rPr lang="en-US" dirty="0" smtClean="0"/>
              <a:t>Societal perspective, discounted 3%</a:t>
            </a:r>
          </a:p>
          <a:p>
            <a:pPr marL="228600" indent="-228600">
              <a:buFontTx/>
              <a:buAutoNum type="arabicPeriod"/>
              <a:defRPr/>
            </a:pPr>
            <a:r>
              <a:rPr lang="en-US" dirty="0" smtClean="0"/>
              <a:t>These are base case numbers, could provide a CI for incremental benefits from the probabilistic SA runs.</a:t>
            </a:r>
          </a:p>
          <a:p>
            <a:pPr>
              <a:defRPr/>
            </a:pPr>
            <a:endParaRPr lang="en-US" dirty="0" smtClean="0"/>
          </a:p>
        </p:txBody>
      </p:sp>
      <p:sp>
        <p:nvSpPr>
          <p:cNvPr id="4" name="Slide Number Placeholder 3"/>
          <p:cNvSpPr>
            <a:spLocks noGrp="1"/>
          </p:cNvSpPr>
          <p:nvPr>
            <p:ph type="sldNum" sz="quarter" idx="5"/>
          </p:nvPr>
        </p:nvSpPr>
        <p:spPr/>
        <p:txBody>
          <a:bodyPr/>
          <a:lstStyle/>
          <a:p>
            <a:pPr>
              <a:defRPr/>
            </a:pPr>
            <a:fld id="{AB2EC227-0627-41A0-BFBB-967267A50C58}" type="slidenum">
              <a:rPr lang="en-US" smtClean="0"/>
              <a:pPr>
                <a:defRPr/>
              </a:pPr>
              <a:t>64</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Times" panose="02020603050405020304" pitchFamily="18" charset="0"/>
              <a:cs typeface="Arial" panose="020B0604020202020204" pitchFamily="34" charset="0"/>
            </a:endParaRPr>
          </a:p>
        </p:txBody>
      </p:sp>
    </p:spTree>
    <p:extLst>
      <p:ext uri="{BB962C8B-B14F-4D97-AF65-F5344CB8AC3E}">
        <p14:creationId xmlns:p14="http://schemas.microsoft.com/office/powerpoint/2010/main" val="26428271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noRot="1" noChangeAspect="1" noChangeArrowheads="1" noTextEdit="1"/>
          </p:cNvSpPr>
          <p:nvPr>
            <p:ph type="sldImg"/>
          </p:nvPr>
        </p:nvSpPr>
        <p:spPr>
          <a:ln/>
        </p:spPr>
      </p:sp>
      <p:sp>
        <p:nvSpPr>
          <p:cNvPr id="289795"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Pilot projects are a great way to get started, setting these up can easily be done by contacting Ricardo Garay</a:t>
            </a:r>
          </a:p>
          <a:p>
            <a:r>
              <a:rPr lang="en-US" altLang="en-US" dirty="0" smtClean="0"/>
              <a:t>-Setting up trainings at your site can be a great way to line up protocols and incorporate seamless integration of Health Network</a:t>
            </a:r>
          </a:p>
          <a:p>
            <a:endParaRPr lang="en-US" alt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panose="02020603050405020304" pitchFamily="18" charset="0"/>
              <a:cs typeface="Arial" panose="020B0604020202020204" pitchFamily="34" charset="0"/>
            </a:endParaRPr>
          </a:p>
        </p:txBody>
      </p:sp>
    </p:spTree>
    <p:extLst>
      <p:ext uri="{BB962C8B-B14F-4D97-AF65-F5344CB8AC3E}">
        <p14:creationId xmlns:p14="http://schemas.microsoft.com/office/powerpoint/2010/main" val="2642827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2014 there were 1.2 million deaths from HIV 0.4 million of those was from TB this is the first year in the past two decades that TB deaths surpassed HIV deaths</a:t>
            </a:r>
            <a:endParaRPr lang="en-US" dirty="0"/>
          </a:p>
        </p:txBody>
      </p:sp>
      <p:sp>
        <p:nvSpPr>
          <p:cNvPr id="4" name="Slide Number Placeholder 3"/>
          <p:cNvSpPr>
            <a:spLocks noGrp="1"/>
          </p:cNvSpPr>
          <p:nvPr>
            <p:ph type="sldNum" sz="quarter" idx="10"/>
          </p:nvPr>
        </p:nvSpPr>
        <p:spPr/>
        <p:txBody>
          <a:bodyPr/>
          <a:lstStyle/>
          <a:p>
            <a:fld id="{FF45AAE8-01E1-4B54-A344-C1F6D99E7C61}" type="slidenum">
              <a:rPr lang="en-US" smtClean="0"/>
              <a:t>8</a:t>
            </a:fld>
            <a:endParaRPr lang="en-US" dirty="0"/>
          </a:p>
        </p:txBody>
      </p:sp>
    </p:spTree>
    <p:extLst>
      <p:ext uri="{BB962C8B-B14F-4D97-AF65-F5344CB8AC3E}">
        <p14:creationId xmlns:p14="http://schemas.microsoft.com/office/powerpoint/2010/main" val="3691131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children</a:t>
            </a:r>
            <a:r>
              <a:rPr lang="en-US" baseline="0" dirty="0" smtClean="0"/>
              <a:t> there are 1,000,000 cases a year and 140,000 deaths</a:t>
            </a:r>
            <a:endParaRPr lang="en-US" dirty="0"/>
          </a:p>
        </p:txBody>
      </p:sp>
      <p:sp>
        <p:nvSpPr>
          <p:cNvPr id="4" name="Slide Number Placeholder 3"/>
          <p:cNvSpPr>
            <a:spLocks noGrp="1"/>
          </p:cNvSpPr>
          <p:nvPr>
            <p:ph type="sldNum" sz="quarter" idx="10"/>
          </p:nvPr>
        </p:nvSpPr>
        <p:spPr/>
        <p:txBody>
          <a:bodyPr/>
          <a:lstStyle/>
          <a:p>
            <a:fld id="{8A95F68D-2B3F-49DA-992C-1AD7EC41EBCA}" type="slidenum">
              <a:rPr lang="en-US" smtClean="0"/>
              <a:t>10</a:t>
            </a:fld>
            <a:endParaRPr lang="en-US" dirty="0"/>
          </a:p>
        </p:txBody>
      </p:sp>
    </p:spTree>
    <p:extLst>
      <p:ext uri="{BB962C8B-B14F-4D97-AF65-F5344CB8AC3E}">
        <p14:creationId xmlns:p14="http://schemas.microsoft.com/office/powerpoint/2010/main" val="1872676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lvl1pPr>
              <a:defRPr sz="3600">
                <a:solidFill>
                  <a:schemeClr val="tx1"/>
                </a:solidFill>
                <a:latin typeface="Arial" charset="0"/>
              </a:defRPr>
            </a:lvl1pPr>
            <a:lvl2pPr marL="742950" indent="-285750">
              <a:defRPr sz="3600">
                <a:solidFill>
                  <a:schemeClr val="tx1"/>
                </a:solidFill>
                <a:latin typeface="Arial" charset="0"/>
              </a:defRPr>
            </a:lvl2pPr>
            <a:lvl3pPr marL="1143000" indent="-228600">
              <a:defRPr sz="3600">
                <a:solidFill>
                  <a:schemeClr val="tx1"/>
                </a:solidFill>
                <a:latin typeface="Arial" charset="0"/>
              </a:defRPr>
            </a:lvl3pPr>
            <a:lvl4pPr marL="1600200" indent="-228600">
              <a:defRPr sz="3600">
                <a:solidFill>
                  <a:schemeClr val="tx1"/>
                </a:solidFill>
                <a:latin typeface="Arial" charset="0"/>
              </a:defRPr>
            </a:lvl4pPr>
            <a:lvl5pPr marL="2057400" indent="-228600">
              <a:defRPr sz="3600">
                <a:solidFill>
                  <a:schemeClr val="tx1"/>
                </a:solidFill>
                <a:latin typeface="Arial" charset="0"/>
              </a:defRPr>
            </a:lvl5pPr>
            <a:lvl6pPr marL="2514600" indent="-228600" algn="ctr" eaLnBrk="0" fontAlgn="base" hangingPunct="0">
              <a:spcBef>
                <a:spcPct val="0"/>
              </a:spcBef>
              <a:spcAft>
                <a:spcPct val="0"/>
              </a:spcAft>
              <a:defRPr sz="3600">
                <a:solidFill>
                  <a:schemeClr val="tx1"/>
                </a:solidFill>
                <a:latin typeface="Arial" charset="0"/>
              </a:defRPr>
            </a:lvl6pPr>
            <a:lvl7pPr marL="2971800" indent="-228600" algn="ctr" eaLnBrk="0" fontAlgn="base" hangingPunct="0">
              <a:spcBef>
                <a:spcPct val="0"/>
              </a:spcBef>
              <a:spcAft>
                <a:spcPct val="0"/>
              </a:spcAft>
              <a:defRPr sz="3600">
                <a:solidFill>
                  <a:schemeClr val="tx1"/>
                </a:solidFill>
                <a:latin typeface="Arial" charset="0"/>
              </a:defRPr>
            </a:lvl7pPr>
            <a:lvl8pPr marL="3429000" indent="-228600" algn="ctr" eaLnBrk="0" fontAlgn="base" hangingPunct="0">
              <a:spcBef>
                <a:spcPct val="0"/>
              </a:spcBef>
              <a:spcAft>
                <a:spcPct val="0"/>
              </a:spcAft>
              <a:defRPr sz="3600">
                <a:solidFill>
                  <a:schemeClr val="tx1"/>
                </a:solidFill>
                <a:latin typeface="Arial" charset="0"/>
              </a:defRPr>
            </a:lvl8pPr>
            <a:lvl9pPr marL="3886200" indent="-228600" algn="ctr" eaLnBrk="0" fontAlgn="base" hangingPunct="0">
              <a:spcBef>
                <a:spcPct val="0"/>
              </a:spcBef>
              <a:spcAft>
                <a:spcPct val="0"/>
              </a:spcAft>
              <a:defRPr sz="3600">
                <a:solidFill>
                  <a:schemeClr val="tx1"/>
                </a:solidFill>
                <a:latin typeface="Arial" charset="0"/>
              </a:defRPr>
            </a:lvl9pPr>
          </a:lstStyle>
          <a:p>
            <a:fld id="{5ADD477B-232C-4DED-9564-81661FB088C6}" type="slidenum">
              <a:rPr lang="en-US" sz="1200">
                <a:solidFill>
                  <a:prstClr val="black"/>
                </a:solidFill>
                <a:latin typeface="Times New Roman" pitchFamily="18" charset="0"/>
              </a:rPr>
              <a:pPr/>
              <a:t>11</a:t>
            </a:fld>
            <a:endParaRPr lang="en-US" sz="1200" dirty="0">
              <a:solidFill>
                <a:prstClr val="black"/>
              </a:solidFill>
              <a:latin typeface="Times New Roman" pitchFamily="18" charset="0"/>
            </a:endParaRPr>
          </a:p>
        </p:txBody>
      </p:sp>
      <p:sp>
        <p:nvSpPr>
          <p:cNvPr id="104451" name="Rectangle 7"/>
          <p:cNvSpPr txBox="1">
            <a:spLocks noGrp="1" noChangeArrowheads="1"/>
          </p:cNvSpPr>
          <p:nvPr/>
        </p:nvSpPr>
        <p:spPr bwMode="auto">
          <a:xfrm>
            <a:off x="3885887" y="8686801"/>
            <a:ext cx="2972114"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98" tIns="46250" rIns="92498" bIns="46250" anchor="b"/>
          <a:lstStyle>
            <a:lvl1pPr defTabSz="923925">
              <a:defRPr sz="3600">
                <a:solidFill>
                  <a:schemeClr val="tx1"/>
                </a:solidFill>
                <a:latin typeface="Arial" charset="0"/>
              </a:defRPr>
            </a:lvl1pPr>
            <a:lvl2pPr marL="742950" indent="-285750" defTabSz="923925">
              <a:defRPr sz="3600">
                <a:solidFill>
                  <a:schemeClr val="tx1"/>
                </a:solidFill>
                <a:latin typeface="Arial" charset="0"/>
              </a:defRPr>
            </a:lvl2pPr>
            <a:lvl3pPr marL="1143000" indent="-228600" defTabSz="923925">
              <a:defRPr sz="3600">
                <a:solidFill>
                  <a:schemeClr val="tx1"/>
                </a:solidFill>
                <a:latin typeface="Arial" charset="0"/>
              </a:defRPr>
            </a:lvl3pPr>
            <a:lvl4pPr marL="1600200" indent="-228600" defTabSz="923925">
              <a:defRPr sz="3600">
                <a:solidFill>
                  <a:schemeClr val="tx1"/>
                </a:solidFill>
                <a:latin typeface="Arial" charset="0"/>
              </a:defRPr>
            </a:lvl4pPr>
            <a:lvl5pPr marL="2057400" indent="-228600" defTabSz="923925">
              <a:defRPr sz="3600">
                <a:solidFill>
                  <a:schemeClr val="tx1"/>
                </a:solidFill>
                <a:latin typeface="Arial" charset="0"/>
              </a:defRPr>
            </a:lvl5pPr>
            <a:lvl6pPr marL="2514600" indent="-228600" algn="ctr" defTabSz="923925" eaLnBrk="0" fontAlgn="base" hangingPunct="0">
              <a:spcBef>
                <a:spcPct val="0"/>
              </a:spcBef>
              <a:spcAft>
                <a:spcPct val="0"/>
              </a:spcAft>
              <a:defRPr sz="3600">
                <a:solidFill>
                  <a:schemeClr val="tx1"/>
                </a:solidFill>
                <a:latin typeface="Arial" charset="0"/>
              </a:defRPr>
            </a:lvl6pPr>
            <a:lvl7pPr marL="2971800" indent="-228600" algn="ctr" defTabSz="923925" eaLnBrk="0" fontAlgn="base" hangingPunct="0">
              <a:spcBef>
                <a:spcPct val="0"/>
              </a:spcBef>
              <a:spcAft>
                <a:spcPct val="0"/>
              </a:spcAft>
              <a:defRPr sz="3600">
                <a:solidFill>
                  <a:schemeClr val="tx1"/>
                </a:solidFill>
                <a:latin typeface="Arial" charset="0"/>
              </a:defRPr>
            </a:lvl7pPr>
            <a:lvl8pPr marL="3429000" indent="-228600" algn="ctr" defTabSz="923925" eaLnBrk="0" fontAlgn="base" hangingPunct="0">
              <a:spcBef>
                <a:spcPct val="0"/>
              </a:spcBef>
              <a:spcAft>
                <a:spcPct val="0"/>
              </a:spcAft>
              <a:defRPr sz="3600">
                <a:solidFill>
                  <a:schemeClr val="tx1"/>
                </a:solidFill>
                <a:latin typeface="Arial" charset="0"/>
              </a:defRPr>
            </a:lvl8pPr>
            <a:lvl9pPr marL="3886200" indent="-228600" algn="ctr" defTabSz="923925" eaLnBrk="0" fontAlgn="base" hangingPunct="0">
              <a:spcBef>
                <a:spcPct val="0"/>
              </a:spcBef>
              <a:spcAft>
                <a:spcPct val="0"/>
              </a:spcAft>
              <a:defRPr sz="3600">
                <a:solidFill>
                  <a:schemeClr val="tx1"/>
                </a:solidFill>
                <a:latin typeface="Arial" charset="0"/>
              </a:defRPr>
            </a:lvl9pPr>
          </a:lstStyle>
          <a:p>
            <a:pPr algn="r" eaLnBrk="0" fontAlgn="base" hangingPunct="0">
              <a:spcBef>
                <a:spcPct val="0"/>
              </a:spcBef>
              <a:spcAft>
                <a:spcPct val="0"/>
              </a:spcAft>
            </a:pPr>
            <a:fld id="{2671A626-4B5A-479D-A1B1-CA80A62D4000}" type="slidenum">
              <a:rPr lang="en-US" altLang="en-US" sz="1200" smtClean="0">
                <a:solidFill>
                  <a:prstClr val="black"/>
                </a:solidFill>
                <a:latin typeface="Times New Roman" pitchFamily="18" charset="0"/>
                <a:cs typeface="Arial" charset="0"/>
              </a:rPr>
              <a:pPr algn="r" eaLnBrk="0" fontAlgn="base" hangingPunct="0">
                <a:spcBef>
                  <a:spcPct val="0"/>
                </a:spcBef>
                <a:spcAft>
                  <a:spcPct val="0"/>
                </a:spcAft>
              </a:pPr>
              <a:t>11</a:t>
            </a:fld>
            <a:endParaRPr lang="en-US" altLang="en-US" sz="1200" dirty="0" smtClean="0">
              <a:solidFill>
                <a:prstClr val="black"/>
              </a:solidFill>
              <a:latin typeface="Times New Roman" pitchFamily="18" charset="0"/>
              <a:cs typeface="Arial" charset="0"/>
            </a:endParaRPr>
          </a:p>
        </p:txBody>
      </p:sp>
      <p:sp>
        <p:nvSpPr>
          <p:cNvPr id="104452" name="Rectangle 2"/>
          <p:cNvSpPr>
            <a:spLocks noGrp="1" noRot="1" noChangeAspect="1" noChangeArrowheads="1" noTextEdit="1"/>
          </p:cNvSpPr>
          <p:nvPr>
            <p:ph type="sldImg"/>
          </p:nvPr>
        </p:nvSpPr>
        <p:spPr>
          <a:xfrm>
            <a:off x="1144588" y="687388"/>
            <a:ext cx="4568825" cy="3427412"/>
          </a:xfrm>
          <a:ln/>
        </p:spPr>
      </p:sp>
      <p:sp>
        <p:nvSpPr>
          <p:cNvPr id="104453" name="Rectangle 3"/>
          <p:cNvSpPr>
            <a:spLocks noGrp="1" noChangeArrowheads="1"/>
          </p:cNvSpPr>
          <p:nvPr>
            <p:ph type="body" idx="1"/>
          </p:nvPr>
        </p:nvSpPr>
        <p:spPr>
          <a:noFill/>
        </p:spPr>
        <p:txBody>
          <a:bodyPr lIns="91429" tIns="45714" rIns="91429" bIns="45714"/>
          <a:lstStyle/>
          <a:p>
            <a:r>
              <a:rPr lang="en-US" dirty="0" smtClean="0"/>
              <a:t>80% of the world’s burden of TB: total of 7,521,000. Remaining 1.9 million are in other countries – mostly all developing countries </a:t>
            </a:r>
            <a:r>
              <a:rPr lang="en-US" sz="1200" b="0" i="0" u="none" strike="noStrike" kern="1200" baseline="0" dirty="0" smtClean="0">
                <a:solidFill>
                  <a:schemeClr val="tx1"/>
                </a:solidFill>
                <a:latin typeface="+mn-lt"/>
                <a:ea typeface="+mn-ea"/>
                <a:cs typeface="+mn-cs"/>
              </a:rPr>
              <a:t>Of the 9.6 million new TB cases in 2014, 58% were in the South-East Asia and Western Pacific regions."" The African Region had 28% of the world’s cases in 2014,</a:t>
            </a:r>
          </a:p>
          <a:p>
            <a:r>
              <a:rPr lang="en-US" sz="1200" b="0" i="0" u="none" strike="noStrike" kern="1200" baseline="0" dirty="0" smtClean="0">
                <a:solidFill>
                  <a:schemeClr val="tx1"/>
                </a:solidFill>
                <a:latin typeface="+mn-lt"/>
                <a:ea typeface="+mn-ea"/>
                <a:cs typeface="+mn-cs"/>
              </a:rPr>
              <a:t>but the most severe burden relative to population: 281 cases for every 100 000 people, more than double the global average of 133.</a:t>
            </a:r>
          </a:p>
          <a:p>
            <a:r>
              <a:rPr lang="en-US" sz="1200" b="0" i="0" u="none" strike="noStrike" kern="1200" baseline="0" dirty="0" smtClean="0">
                <a:solidFill>
                  <a:schemeClr val="tx1"/>
                </a:solidFill>
                <a:latin typeface="+mn-lt"/>
                <a:ea typeface="+mn-ea"/>
                <a:cs typeface="+mn-cs"/>
              </a:rPr>
              <a:t>"" India, Indonesia and China had the largest number of cases: 23%, 10% and 10% of the global total, respectively.</a:t>
            </a:r>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DR TB is resistant</a:t>
            </a:r>
            <a:r>
              <a:rPr lang="en-US" baseline="0" dirty="0" smtClean="0"/>
              <a:t> to INH and Rifampin two most powerful TB drugs; XDRTB INH/Rif plus the fluroquinalones and at least one of the injectables (Kanamycin, Capreomycin, Amikacin)</a:t>
            </a:r>
            <a:endParaRPr lang="en-US" dirty="0"/>
          </a:p>
        </p:txBody>
      </p:sp>
      <p:sp>
        <p:nvSpPr>
          <p:cNvPr id="4" name="Slide Number Placeholder 3"/>
          <p:cNvSpPr>
            <a:spLocks noGrp="1"/>
          </p:cNvSpPr>
          <p:nvPr>
            <p:ph type="sldNum" sz="quarter" idx="10"/>
          </p:nvPr>
        </p:nvSpPr>
        <p:spPr/>
        <p:txBody>
          <a:bodyPr/>
          <a:lstStyle/>
          <a:p>
            <a:fld id="{8A95F68D-2B3F-49DA-992C-1AD7EC41EBCA}" type="slidenum">
              <a:rPr lang="en-US" smtClean="0"/>
              <a:t>14</a:t>
            </a:fld>
            <a:endParaRPr lang="en-US" dirty="0"/>
          </a:p>
        </p:txBody>
      </p:sp>
    </p:spTree>
    <p:extLst>
      <p:ext uri="{BB962C8B-B14F-4D97-AF65-F5344CB8AC3E}">
        <p14:creationId xmlns:p14="http://schemas.microsoft.com/office/powerpoint/2010/main" val="3915840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n 2014, the disparity in TB incidence between U.S.-born and foreign-born persons continued to increase. The total number of TB cases among foreign-born persons in the United States increased with a total of 6,181 TB cases reported (66.5% of all cases in persons with known national origin), representing a 1.5 percentage point increase from 65% in 2013. Despite the increased number of cases among the foreign born in 2014, the TB rate of 15.3 per 100,000 among foreign-born persons decreased 1.5% from 2013 because of an increase in the immigrant population. The 2014 rate among foreign-born persons represented a 42.0% decrease from the rate in 2000. In 2014, 55.3% of foreign-born persons with TB originated from five countries: Mexico (1,268 TB cases [20.6%]), the Philippines (745 [12.1%]), Vietnam (498 [8.1%]), India (472 [7.7%]), and China (420 [6.8%]).</a:t>
            </a:r>
            <a:endParaRPr lang="en-US" dirty="0"/>
          </a:p>
        </p:txBody>
      </p:sp>
      <p:sp>
        <p:nvSpPr>
          <p:cNvPr id="4" name="Slide Number Placeholder 3"/>
          <p:cNvSpPr>
            <a:spLocks noGrp="1"/>
          </p:cNvSpPr>
          <p:nvPr>
            <p:ph type="sldNum" sz="quarter" idx="10"/>
          </p:nvPr>
        </p:nvSpPr>
        <p:spPr/>
        <p:txBody>
          <a:bodyPr/>
          <a:lstStyle/>
          <a:p>
            <a:fld id="{8A95F68D-2B3F-49DA-992C-1AD7EC41EBCA}" type="slidenum">
              <a:rPr lang="en-US" smtClean="0"/>
              <a:t>28</a:t>
            </a:fld>
            <a:endParaRPr lang="en-US" dirty="0"/>
          </a:p>
        </p:txBody>
      </p:sp>
    </p:spTree>
    <p:extLst>
      <p:ext uri="{BB962C8B-B14F-4D97-AF65-F5344CB8AC3E}">
        <p14:creationId xmlns:p14="http://schemas.microsoft.com/office/powerpoint/2010/main" val="735467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smtClean="0"/>
              <a:t>Responds to challenges in providing continuity of care through patient navigation; medical record transfer and bridge case management program</a:t>
            </a:r>
          </a:p>
          <a:p>
            <a:endParaRPr lang="en-US" dirty="0"/>
          </a:p>
        </p:txBody>
      </p:sp>
      <p:sp>
        <p:nvSpPr>
          <p:cNvPr id="4" name="Slide Number Placeholder 3"/>
          <p:cNvSpPr>
            <a:spLocks noGrp="1"/>
          </p:cNvSpPr>
          <p:nvPr>
            <p:ph type="sldNum" sz="quarter" idx="10"/>
          </p:nvPr>
        </p:nvSpPr>
        <p:spPr/>
        <p:txBody>
          <a:bodyPr/>
          <a:lstStyle/>
          <a:p>
            <a:fld id="{BAC63236-5C93-48B5-90B8-311FDF478613}" type="slidenum">
              <a:rPr lang="en-US" smtClean="0"/>
              <a:t>33</a:t>
            </a:fld>
            <a:endParaRPr lang="en-US" dirty="0"/>
          </a:p>
        </p:txBody>
      </p:sp>
    </p:spTree>
    <p:extLst>
      <p:ext uri="{BB962C8B-B14F-4D97-AF65-F5344CB8AC3E}">
        <p14:creationId xmlns:p14="http://schemas.microsoft.com/office/powerpoint/2010/main" val="28369764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 I really like the post-it-notes on slide 21. If slide 22 could use the same device to highlight the need of "working" phone numbers/e-mail addresses, the importance of filling these out BEFORE a patient leaves, the usefulness of anchor contacts and secondary contact numbers in case the main number does not work-that would be awesome</a:t>
            </a:r>
            <a:endParaRPr lang="en-US" dirty="0"/>
          </a:p>
        </p:txBody>
      </p:sp>
      <p:sp>
        <p:nvSpPr>
          <p:cNvPr id="4" name="Slide Number Placeholder 3"/>
          <p:cNvSpPr>
            <a:spLocks noGrp="1"/>
          </p:cNvSpPr>
          <p:nvPr>
            <p:ph type="sldNum" sz="quarter" idx="10"/>
          </p:nvPr>
        </p:nvSpPr>
        <p:spPr/>
        <p:txBody>
          <a:bodyPr/>
          <a:lstStyle/>
          <a:p>
            <a:fld id="{BAC63236-5C93-48B5-90B8-311FDF478613}" type="slidenum">
              <a:rPr lang="en-US" smtClean="0"/>
              <a:t>37</a:t>
            </a:fld>
            <a:endParaRPr lang="en-US" dirty="0"/>
          </a:p>
        </p:txBody>
      </p:sp>
    </p:spTree>
    <p:extLst>
      <p:ext uri="{BB962C8B-B14F-4D97-AF65-F5344CB8AC3E}">
        <p14:creationId xmlns:p14="http://schemas.microsoft.com/office/powerpoint/2010/main" val="27174229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4.xml"/><Relationship Id="rId5" Type="http://schemas.openxmlformats.org/officeDocument/2006/relationships/tags" Target="../tags/tag30.xml"/><Relationship Id="rId4" Type="http://schemas.openxmlformats.org/officeDocument/2006/relationships/tags" Target="../tags/tag2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33724224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24613846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4862454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2769308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ic Content Bad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userDrawn="1">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Tree>
    <p:extLst>
      <p:ext uri="{BB962C8B-B14F-4D97-AF65-F5344CB8AC3E}">
        <p14:creationId xmlns:p14="http://schemas.microsoft.com/office/powerpoint/2010/main" val="224642903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Rest of the slides">
    <p:spTree>
      <p:nvGrpSpPr>
        <p:cNvPr id="1" name=""/>
        <p:cNvGrpSpPr/>
        <p:nvPr/>
      </p:nvGrpSpPr>
      <p:grpSpPr>
        <a:xfrm>
          <a:off x="0" y="0"/>
          <a:ext cx="0" cy="0"/>
          <a:chOff x="0" y="0"/>
          <a:chExt cx="0" cy="0"/>
        </a:xfrm>
      </p:grpSpPr>
      <p:sp>
        <p:nvSpPr>
          <p:cNvPr id="9" name="Title Placeholder 21"/>
          <p:cNvSpPr>
            <a:spLocks noGrp="1"/>
          </p:cNvSpPr>
          <p:nvPr>
            <p:ph type="title"/>
          </p:nvPr>
        </p:nvSpPr>
        <p:spPr>
          <a:xfrm>
            <a:off x="365125" y="254000"/>
            <a:ext cx="8413750" cy="443198"/>
          </a:xfrm>
          <a:prstGeom prst="rect">
            <a:avLst/>
          </a:prstGeom>
        </p:spPr>
        <p:txBody>
          <a:bodyPr vert="horz" lIns="0" tIns="0" rIns="0" bIns="0" anchor="t">
            <a:spAutoFit/>
          </a:bodyPr>
          <a:lstStyle>
            <a:lvl1pPr algn="l" rtl="0" eaLnBrk="1" latinLnBrk="0" hangingPunct="1">
              <a:lnSpc>
                <a:spcPct val="90000"/>
              </a:lnSpc>
              <a:spcBef>
                <a:spcPct val="0"/>
              </a:spcBef>
              <a:buNone/>
              <a:defRPr kumimoji="0" lang="en-US" sz="3200" b="1" kern="1200" dirty="0">
                <a:ln>
                  <a:noFill/>
                </a:ln>
                <a:solidFill>
                  <a:schemeClr val="tx1">
                    <a:lumMod val="75000"/>
                    <a:lumOff val="25000"/>
                  </a:schemeClr>
                </a:solidFill>
                <a:latin typeface="+mj-lt"/>
                <a:ea typeface="+mj-ea"/>
                <a:cs typeface="Calibri" pitchFamily="34" charset="0"/>
              </a:defRPr>
            </a:lvl1pPr>
          </a:lstStyle>
          <a:p>
            <a:pPr lvl="0"/>
            <a:r>
              <a:rPr kumimoji="0" lang="en-US" dirty="0" smtClean="0"/>
              <a:t>Click to edit Master title style</a:t>
            </a:r>
            <a:endParaRPr kumimoji="0" lang="en-US" dirty="0"/>
          </a:p>
        </p:txBody>
      </p:sp>
    </p:spTree>
    <p:extLst>
      <p:ext uri="{BB962C8B-B14F-4D97-AF65-F5344CB8AC3E}">
        <p14:creationId xmlns:p14="http://schemas.microsoft.com/office/powerpoint/2010/main" val="217408738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A2BC5F6-6055-4CCD-B728-27EE8A9CA17E}"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3447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DF0C279-146D-4FA1-B174-3FF9D6686670}"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77410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Calibr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atin typeface="Calibri"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EE9091AD-6265-44F3-AAB0-7241F6A4593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47542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F756C075-AC09-4D5A-860B-92A4E4CE85B9}"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866438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lvl1pPr>
              <a:defRPr/>
            </a:lvl1pPr>
          </a:lstStyle>
          <a:p>
            <a:endParaRPr lang="en-US" dirty="0">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dirty="0">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961CB797-9C58-4A56-BEC0-0CAB6C28D5D8}"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95332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mtClean="0"/>
              <a:t>Click to edit Master title style</a:t>
            </a:r>
            <a:endParaRPr lang="en-US"/>
          </a:p>
        </p:txBody>
      </p:sp>
      <p:sp>
        <p:nvSpPr>
          <p:cNvPr id="3" name="Content Placeholder 2"/>
          <p:cNvSpPr>
            <a:spLocks noGrp="1"/>
          </p:cNvSpPr>
          <p:nvPr>
            <p:ph idx="1"/>
            <p:custDataLst>
              <p:tags r:id="rId2"/>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custDataLst>
              <p:tags r:id="rId3"/>
            </p:custDataLst>
          </p:nvPr>
        </p:nvSpPr>
        <p:spPr/>
        <p:txBody>
          <a:bodyPr/>
          <a:lstStyle/>
          <a:p>
            <a:fld id="{8C251342-6384-43BB-930D-C95A6B1C75B9}" type="datetimeFigureOut">
              <a:rPr lang="en-US" smtClean="0"/>
              <a:t>3/30/2016</a:t>
            </a:fld>
            <a:endParaRPr lang="en-US" dirty="0"/>
          </a:p>
        </p:txBody>
      </p:sp>
      <p:sp>
        <p:nvSpPr>
          <p:cNvPr id="5" name="Footer Placeholder 4"/>
          <p:cNvSpPr>
            <a:spLocks noGrp="1"/>
          </p:cNvSpPr>
          <p:nvPr>
            <p:ph type="ftr" sz="quarter" idx="11"/>
            <p:custDataLst>
              <p:tags r:id="rId4"/>
            </p:custDataLst>
          </p:nvPr>
        </p:nvSpPr>
        <p:spPr/>
        <p:txBody>
          <a:bodyPr/>
          <a:lstStyle/>
          <a:p>
            <a:endParaRPr lang="en-US" dirty="0"/>
          </a:p>
        </p:txBody>
      </p:sp>
      <p:sp>
        <p:nvSpPr>
          <p:cNvPr id="6" name="Slide Number Placeholder 5"/>
          <p:cNvSpPr>
            <a:spLocks noGrp="1"/>
          </p:cNvSpPr>
          <p:nvPr>
            <p:ph type="sldNum" sz="quarter" idx="12"/>
            <p:custDataLst>
              <p:tags r:id="rId5"/>
            </p:custDataLst>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114497080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latin typeface="Calibri" pitchFamily="34" charset="0"/>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dirty="0">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43E00A1E-EC75-4125-96DB-6C93C50DA89E}"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189203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dirty="0">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E923132B-7C9D-427A-985A-02C5A21E73D4}"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70837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E54F58D-6794-496C-87BC-9B3B462A976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653733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12F9B6B5-0CF4-4E7A-A541-2E98DE4927EF}"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6982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5E48BE3-7381-4C55-BE71-745D3A9A61B1}"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470936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244FDE04-8CB9-497E-A758-082119258C3B}"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10042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457200" y="6245225"/>
            <a:ext cx="2133600" cy="476250"/>
          </a:xfrm>
        </p:spPr>
        <p:txBody>
          <a:bodyPr/>
          <a:lstStyle>
            <a:lvl1pPr>
              <a:defRPr/>
            </a:lvl1pPr>
          </a:lstStyle>
          <a:p>
            <a:endParaRPr lang="en-US" dirty="0">
              <a:solidFill>
                <a:srgbClr val="000000"/>
              </a:solidFill>
            </a:endParaRPr>
          </a:p>
        </p:txBody>
      </p:sp>
      <p:sp>
        <p:nvSpPr>
          <p:cNvPr id="7" name="Footer Placeholder 6"/>
          <p:cNvSpPr>
            <a:spLocks noGrp="1"/>
          </p:cNvSpPr>
          <p:nvPr>
            <p:ph type="ftr" sz="quarter" idx="11"/>
          </p:nvPr>
        </p:nvSpPr>
        <p:spPr>
          <a:xfrm>
            <a:off x="3124200" y="6245225"/>
            <a:ext cx="2895600" cy="476250"/>
          </a:xfrm>
        </p:spPr>
        <p:txBody>
          <a:bodyPr/>
          <a:lstStyle>
            <a:lvl1pPr>
              <a:defRPr/>
            </a:lvl1pPr>
          </a:lstStyle>
          <a:p>
            <a:endParaRPr lang="en-US" dirty="0">
              <a:solidFill>
                <a:srgbClr val="000000"/>
              </a:solidFill>
            </a:endParaRPr>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CF1888EB-A2B3-4D3E-B01D-70716EE4A692}"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025112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p:spPr>
        <p:txBody>
          <a:bodyPr/>
          <a:lstStyle/>
          <a:p>
            <a:endParaRPr lang="en-US" dirty="0"/>
          </a:p>
        </p:txBody>
      </p:sp>
      <p:sp>
        <p:nvSpPr>
          <p:cNvPr id="4" name="Date Placeholder 3"/>
          <p:cNvSpPr>
            <a:spLocks noGrp="1"/>
          </p:cNvSpPr>
          <p:nvPr>
            <p:ph type="dt" sz="half" idx="10"/>
          </p:nvPr>
        </p:nvSpPr>
        <p:spPr>
          <a:xfrm>
            <a:off x="457200" y="6245225"/>
            <a:ext cx="2133600" cy="476250"/>
          </a:xfrm>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a:xfrm>
            <a:off x="3124200" y="6245225"/>
            <a:ext cx="2895600" cy="476250"/>
          </a:xfrm>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a:xfrm>
            <a:off x="6553200" y="6245225"/>
            <a:ext cx="2133600" cy="476250"/>
          </a:xfrm>
        </p:spPr>
        <p:txBody>
          <a:bodyPr/>
          <a:lstStyle>
            <a:lvl1pPr>
              <a:defRPr/>
            </a:lvl1pPr>
          </a:lstStyle>
          <a:p>
            <a:fld id="{6A33F713-927F-40FC-B3C6-1D333E62B410}"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957888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245225"/>
            <a:ext cx="2133600" cy="476250"/>
          </a:xfrm>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a:xfrm>
            <a:off x="3124200" y="6245225"/>
            <a:ext cx="2895600" cy="476250"/>
          </a:xfr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a:xfrm>
            <a:off x="6553200" y="6245225"/>
            <a:ext cx="2133600" cy="476250"/>
          </a:xfrm>
        </p:spPr>
        <p:txBody>
          <a:bodyPr/>
          <a:lstStyle>
            <a:lvl1pPr>
              <a:defRPr/>
            </a:lvl1pPr>
          </a:lstStyle>
          <a:p>
            <a:fld id="{E5CB116A-EBE1-47BE-936B-F8B7A978382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941817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2CCF47-81ED-42E7-A10E-C052265D2D84}" type="datetimeFigureOut">
              <a:rPr lang="en-US" smtClean="0">
                <a:solidFill>
                  <a:srgbClr val="4C5059">
                    <a:tint val="75000"/>
                  </a:srgbClr>
                </a:solidFill>
              </a:rPr>
              <a:pPr/>
              <a:t>3/30/2016</a:t>
            </a:fld>
            <a:endParaRPr lang="en-US">
              <a:solidFill>
                <a:srgbClr val="4C5059">
                  <a:tint val="75000"/>
                </a:srgbClr>
              </a:solidFill>
            </a:endParaRPr>
          </a:p>
        </p:txBody>
      </p:sp>
      <p:sp>
        <p:nvSpPr>
          <p:cNvPr id="3" name="Footer Placeholder 2"/>
          <p:cNvSpPr>
            <a:spLocks noGrp="1"/>
          </p:cNvSpPr>
          <p:nvPr>
            <p:ph type="ftr" sz="quarter" idx="11"/>
          </p:nvPr>
        </p:nvSpPr>
        <p:spPr/>
        <p:txBody>
          <a:bodyPr/>
          <a:lstStyle/>
          <a:p>
            <a:endParaRPr lang="en-US">
              <a:solidFill>
                <a:srgbClr val="4C5059">
                  <a:tint val="75000"/>
                </a:srgbClr>
              </a:solidFill>
            </a:endParaRPr>
          </a:p>
        </p:txBody>
      </p:sp>
      <p:sp>
        <p:nvSpPr>
          <p:cNvPr id="4" name="Slide Number Placeholder 3"/>
          <p:cNvSpPr>
            <a:spLocks noGrp="1"/>
          </p:cNvSpPr>
          <p:nvPr>
            <p:ph type="sldNum" sz="quarter" idx="12"/>
          </p:nvPr>
        </p:nvSpPr>
        <p:spPr/>
        <p:txBody>
          <a:bodyPr/>
          <a:lstStyle/>
          <a:p>
            <a:fld id="{89F022BF-4206-4BDD-A665-C512C4BEC0DA}" type="slidenum">
              <a:rPr lang="en-US" smtClean="0">
                <a:solidFill>
                  <a:srgbClr val="4C5059">
                    <a:tint val="75000"/>
                  </a:srgbClr>
                </a:solidFill>
              </a:rPr>
              <a:pPr/>
              <a:t>‹#›</a:t>
            </a:fld>
            <a:endParaRPr lang="en-US">
              <a:solidFill>
                <a:srgbClr val="4C5059">
                  <a:tint val="75000"/>
                </a:srgbClr>
              </a:solidFill>
            </a:endParaRPr>
          </a:p>
        </p:txBody>
      </p:sp>
    </p:spTree>
    <p:extLst>
      <p:ext uri="{BB962C8B-B14F-4D97-AF65-F5344CB8AC3E}">
        <p14:creationId xmlns:p14="http://schemas.microsoft.com/office/powerpoint/2010/main" val="4156249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35628619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864407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mtClean="0"/>
              <a:t>Click to edit Master title style</a:t>
            </a:r>
            <a:endParaRPr lang="en-US"/>
          </a:p>
        </p:txBody>
      </p:sp>
      <p:sp>
        <p:nvSpPr>
          <p:cNvPr id="3" name="Content Placeholder 2"/>
          <p:cNvSpPr>
            <a:spLocks noGrp="1"/>
          </p:cNvSpPr>
          <p:nvPr>
            <p:ph idx="1"/>
            <p:custDataLst>
              <p:tags r:id="rId2"/>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custDataLst>
              <p:tags r:id="rId3"/>
            </p:custDataLst>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5" name="Footer Placeholder 4"/>
          <p:cNvSpPr>
            <a:spLocks noGrp="1"/>
          </p:cNvSpPr>
          <p:nvPr>
            <p:ph type="ftr" sz="quarter" idx="11"/>
            <p:custDataLst>
              <p:tags r:id="rId4"/>
            </p:custDataLst>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custDataLst>
              <p:tags r:id="rId5"/>
            </p:custDataLst>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4064276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710704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mtClean="0"/>
              <a:t>Click to edit Master title style</a:t>
            </a:r>
            <a:endParaRPr lang="en-US"/>
          </a:p>
        </p:txBody>
      </p:sp>
      <p:sp>
        <p:nvSpPr>
          <p:cNvPr id="3" name="Content Placeholder 2"/>
          <p:cNvSpPr>
            <a:spLocks noGrp="1"/>
          </p:cNvSpPr>
          <p:nvPr>
            <p:ph sz="half" idx="1"/>
            <p:custDataLst>
              <p:tags r:id="rId2"/>
            </p:custDataLst>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custDataLst>
              <p:tags r:id="rId3"/>
            </p:custDataLst>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custDataLst>
              <p:tags r:id="rId4"/>
            </p:custDataLst>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6" name="Footer Placeholder 5"/>
          <p:cNvSpPr>
            <a:spLocks noGrp="1"/>
          </p:cNvSpPr>
          <p:nvPr>
            <p:ph type="ftr" sz="quarter" idx="11"/>
            <p:custDataLst>
              <p:tags r:id="rId5"/>
            </p:custDataLst>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custDataLst>
              <p:tags r:id="rId6"/>
            </p:custDataLst>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4674934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01418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65373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custDataLst>
              <p:tags r:id="rId1"/>
            </p:custDataLst>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3" name="Footer Placeholder 2"/>
          <p:cNvSpPr>
            <a:spLocks noGrp="1"/>
          </p:cNvSpPr>
          <p:nvPr>
            <p:ph type="ftr" sz="quarter" idx="11"/>
            <p:custDataLst>
              <p:tags r:id="rId2"/>
            </p:custDataLst>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custDataLst>
              <p:tags r:id="rId3"/>
            </p:custDataLst>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3568297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811458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416706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23741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smtClean="0"/>
              <a:t>Click to edit Master title style</a:t>
            </a:r>
            <a:endParaRPr lang="en-US"/>
          </a:p>
        </p:txBody>
      </p:sp>
      <p:sp>
        <p:nvSpPr>
          <p:cNvPr id="3" name="Content Placeholder 2"/>
          <p:cNvSpPr>
            <a:spLocks noGrp="1"/>
          </p:cNvSpPr>
          <p:nvPr>
            <p:ph sz="half" idx="1"/>
            <p:custDataLst>
              <p:tags r:id="rId2"/>
            </p:custDataLst>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custDataLst>
              <p:tags r:id="rId3"/>
            </p:custDataLst>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custDataLst>
              <p:tags r:id="rId4"/>
            </p:custDataLst>
          </p:nvPr>
        </p:nvSpPr>
        <p:spPr/>
        <p:txBody>
          <a:bodyPr/>
          <a:lstStyle/>
          <a:p>
            <a:fld id="{8C251342-6384-43BB-930D-C95A6B1C75B9}" type="datetimeFigureOut">
              <a:rPr lang="en-US" smtClean="0"/>
              <a:t>3/30/2016</a:t>
            </a:fld>
            <a:endParaRPr lang="en-US" dirty="0"/>
          </a:p>
        </p:txBody>
      </p:sp>
      <p:sp>
        <p:nvSpPr>
          <p:cNvPr id="6" name="Footer Placeholder 5"/>
          <p:cNvSpPr>
            <a:spLocks noGrp="1"/>
          </p:cNvSpPr>
          <p:nvPr>
            <p:ph type="ftr" sz="quarter" idx="11"/>
            <p:custDataLst>
              <p:tags r:id="rId5"/>
            </p:custDataLst>
          </p:nvPr>
        </p:nvSpPr>
        <p:spPr/>
        <p:txBody>
          <a:bodyPr/>
          <a:lstStyle/>
          <a:p>
            <a:endParaRPr lang="en-US" dirty="0"/>
          </a:p>
        </p:txBody>
      </p:sp>
      <p:sp>
        <p:nvSpPr>
          <p:cNvPr id="7" name="Slide Number Placeholder 6"/>
          <p:cNvSpPr>
            <a:spLocks noGrp="1"/>
          </p:cNvSpPr>
          <p:nvPr>
            <p:ph type="sldNum" sz="quarter" idx="12"/>
            <p:custDataLst>
              <p:tags r:id="rId6"/>
            </p:custDataLst>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114305942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6383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57940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2351106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1756912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custDataLst>
              <p:tags r:id="rId1"/>
            </p:custDataLst>
          </p:nvPr>
        </p:nvSpPr>
        <p:spPr/>
        <p:txBody>
          <a:bodyPr/>
          <a:lstStyle/>
          <a:p>
            <a:fld id="{8C251342-6384-43BB-930D-C95A6B1C75B9}" type="datetimeFigureOut">
              <a:rPr lang="en-US" smtClean="0"/>
              <a:t>3/30/2016</a:t>
            </a:fld>
            <a:endParaRPr lang="en-US" dirty="0"/>
          </a:p>
        </p:txBody>
      </p:sp>
      <p:sp>
        <p:nvSpPr>
          <p:cNvPr id="3" name="Footer Placeholder 2"/>
          <p:cNvSpPr>
            <a:spLocks noGrp="1"/>
          </p:cNvSpPr>
          <p:nvPr>
            <p:ph type="ftr" sz="quarter" idx="11"/>
            <p:custDataLst>
              <p:tags r:id="rId2"/>
            </p:custDataLst>
          </p:nvPr>
        </p:nvSpPr>
        <p:spPr/>
        <p:txBody>
          <a:bodyPr/>
          <a:lstStyle/>
          <a:p>
            <a:endParaRPr lang="en-US" dirty="0"/>
          </a:p>
        </p:txBody>
      </p:sp>
      <p:sp>
        <p:nvSpPr>
          <p:cNvPr id="4" name="Slide Number Placeholder 3"/>
          <p:cNvSpPr>
            <a:spLocks noGrp="1"/>
          </p:cNvSpPr>
          <p:nvPr>
            <p:ph type="sldNum" sz="quarter" idx="12"/>
            <p:custDataLst>
              <p:tags r:id="rId3"/>
            </p:custDataLst>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50076609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30579361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C251342-6384-43BB-930D-C95A6B1C75B9}" type="datetimeFigureOut">
              <a:rPr lang="en-US" smtClean="0"/>
              <a:t>3/30/2016</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347961-881B-480F-9CAB-348A912F1CBD}" type="slidenum">
              <a:rPr lang="en-US" smtClean="0"/>
              <a:t>‹#›</a:t>
            </a:fld>
            <a:endParaRPr lang="en-US" dirty="0"/>
          </a:p>
        </p:txBody>
      </p:sp>
    </p:spTree>
    <p:extLst>
      <p:ext uri="{BB962C8B-B14F-4D97-AF65-F5344CB8AC3E}">
        <p14:creationId xmlns:p14="http://schemas.microsoft.com/office/powerpoint/2010/main" val="2235215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18" Type="http://schemas.openxmlformats.org/officeDocument/2006/relationships/tags" Target="../tags/tag25.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24.xml"/><Relationship Id="rId2" Type="http://schemas.openxmlformats.org/officeDocument/2006/relationships/slideLayout" Target="../slideLayouts/slideLayout31.xml"/><Relationship Id="rId16" Type="http://schemas.openxmlformats.org/officeDocument/2006/relationships/tags" Target="../tags/tag2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22.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6"/>
            </p:custDataLst>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custDataLst>
              <p:tags r:id="rId17"/>
            </p:custDataLst>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custDataLst>
              <p:tags r:id="rId18"/>
            </p:custDataLst>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251342-6384-43BB-930D-C95A6B1C75B9}" type="datetimeFigureOut">
              <a:rPr lang="en-US" smtClean="0"/>
              <a:t>3/30/2016</a:t>
            </a:fld>
            <a:endParaRPr lang="en-US" dirty="0"/>
          </a:p>
        </p:txBody>
      </p:sp>
      <p:sp>
        <p:nvSpPr>
          <p:cNvPr id="5" name="Footer Placeholder 4"/>
          <p:cNvSpPr>
            <a:spLocks noGrp="1"/>
          </p:cNvSpPr>
          <p:nvPr>
            <p:ph type="ftr" sz="quarter" idx="3"/>
            <p:custDataLst>
              <p:tags r:id="rId19"/>
            </p:custDataLst>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custDataLst>
              <p:tags r:id="rId20"/>
            </p:custDataLst>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347961-881B-480F-9CAB-348A912F1CBD}" type="slidenum">
              <a:rPr lang="en-US" smtClean="0"/>
              <a:t>‹#›</a:t>
            </a:fld>
            <a:endParaRPr lang="en-US" dirty="0"/>
          </a:p>
        </p:txBody>
      </p:sp>
    </p:spTree>
    <p:extLst>
      <p:ext uri="{BB962C8B-B14F-4D97-AF65-F5344CB8AC3E}">
        <p14:creationId xmlns:p14="http://schemas.microsoft.com/office/powerpoint/2010/main" val="40721086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48" r:id="rId12"/>
    <p:sldLayoutId id="2147483769" r:id="rId13"/>
    <p:sldLayoutId id="2147483770" r:id="rId14"/>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203"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720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400"/>
            </a:lvl1pPr>
          </a:lstStyle>
          <a:p>
            <a:pPr fontAlgn="base">
              <a:spcBef>
                <a:spcPct val="0"/>
              </a:spcBef>
              <a:spcAft>
                <a:spcPct val="0"/>
              </a:spcAft>
            </a:pPr>
            <a:endParaRPr lang="en-US" dirty="0">
              <a:solidFill>
                <a:srgbClr val="000000"/>
              </a:solidFill>
            </a:endParaRPr>
          </a:p>
        </p:txBody>
      </p:sp>
      <p:sp>
        <p:nvSpPr>
          <p:cNvPr id="30720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algn="ctr" fontAlgn="base">
              <a:spcBef>
                <a:spcPct val="0"/>
              </a:spcBef>
              <a:spcAft>
                <a:spcPct val="0"/>
              </a:spcAft>
            </a:pPr>
            <a:endParaRPr lang="en-US" dirty="0">
              <a:solidFill>
                <a:srgbClr val="000000"/>
              </a:solidFill>
            </a:endParaRPr>
          </a:p>
        </p:txBody>
      </p:sp>
      <p:sp>
        <p:nvSpPr>
          <p:cNvPr id="30720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pPr>
            <a:fld id="{DF166C25-DC5B-4418-983C-7FAE006E2C78}" type="slidenum">
              <a:rPr lang="en-US">
                <a:solidFill>
                  <a:srgbClr val="000000"/>
                </a:solidFill>
              </a:rPr>
              <a:pPr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47017622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timing>
    <p:tnLst>
      <p:par>
        <p:cTn id="1" dur="indefinite" restart="never" nodeType="tmRoot"/>
      </p:par>
    </p:tnLst>
  </p:timing>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2CCF47-81ED-42E7-A10E-C052265D2D84}" type="datetimeFigureOut">
              <a:rPr lang="en-US" smtClean="0">
                <a:solidFill>
                  <a:srgbClr val="4C5059">
                    <a:tint val="75000"/>
                  </a:srgbClr>
                </a:solidFill>
              </a:rPr>
              <a:pPr/>
              <a:t>3/30/2016</a:t>
            </a:fld>
            <a:endParaRPr lang="en-US">
              <a:solidFill>
                <a:srgbClr val="4C5059">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4C5059">
                  <a:tint val="75000"/>
                </a:srgb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F022BF-4206-4BDD-A665-C512C4BEC0DA}" type="slidenum">
              <a:rPr lang="en-US" smtClean="0">
                <a:solidFill>
                  <a:srgbClr val="4C5059">
                    <a:tint val="75000"/>
                  </a:srgbClr>
                </a:solidFill>
              </a:rPr>
              <a:pPr/>
              <a:t>‹#›</a:t>
            </a:fld>
            <a:endParaRPr lang="en-US">
              <a:solidFill>
                <a:srgbClr val="4C5059">
                  <a:tint val="75000"/>
                </a:srgbClr>
              </a:solidFill>
            </a:endParaRPr>
          </a:p>
        </p:txBody>
      </p:sp>
    </p:spTree>
    <p:extLst>
      <p:ext uri="{BB962C8B-B14F-4D97-AF65-F5344CB8AC3E}">
        <p14:creationId xmlns:p14="http://schemas.microsoft.com/office/powerpoint/2010/main" val="1270091821"/>
      </p:ext>
    </p:extLst>
  </p:cSld>
  <p:clrMap bg1="lt1" tx1="dk1" bg2="lt2" tx2="dk2" accent1="accent1" accent2="accent2" accent3="accent3" accent4="accent4" accent5="accent5" accent6="accent6" hlink="hlink" folHlink="folHlink"/>
  <p:sldLayoutIdLst>
    <p:sldLayoutId id="2147483753" r:id="rId1"/>
  </p:sldLayoutIdLst>
  <p:txStyles>
    <p:titleStyle>
      <a:lvl1pPr algn="ctr" defTabSz="914400" rtl="0" eaLnBrk="1" latinLnBrk="0" hangingPunct="1">
        <a:spcBef>
          <a:spcPct val="0"/>
        </a:spcBef>
        <a:buNone/>
        <a:defRPr sz="4400" b="0" i="0" u="none" kern="1200">
          <a:solidFill>
            <a:schemeClr val="tx1"/>
          </a:solidFill>
          <a:latin typeface="Roboto" panose="02000000000000000000" pitchFamily="2" charset="0"/>
          <a:ea typeface="Roboto" panose="02000000000000000000" pitchFamily="2" charset="0"/>
          <a:cs typeface="Roboto" panose="02000000000000000000" pitchFamily="2"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Roboto" panose="02000000000000000000" pitchFamily="2" charset="0"/>
          <a:ea typeface="Roboto" panose="02000000000000000000" pitchFamily="2" charset="0"/>
          <a:cs typeface="Roboto" panose="02000000000000000000" pitchFamily="2" charset="0"/>
        </a:defRPr>
      </a:lvl1pPr>
      <a:lvl2pPr marL="742950" indent="-285750" algn="l" defTabSz="914400" rtl="0" eaLnBrk="1" latinLnBrk="0" hangingPunct="1">
        <a:spcBef>
          <a:spcPct val="20000"/>
        </a:spcBef>
        <a:buFont typeface="Arial" panose="020B0604020202020204" pitchFamily="34" charset="0"/>
        <a:buChar char="–"/>
        <a:defRPr sz="2800" b="0" i="0" u="none" kern="1200">
          <a:solidFill>
            <a:schemeClr val="tx1"/>
          </a:solidFill>
          <a:latin typeface="Roboto" panose="02000000000000000000" pitchFamily="2" charset="0"/>
          <a:ea typeface="Roboto" panose="02000000000000000000" pitchFamily="2" charset="0"/>
          <a:cs typeface="Roboto" panose="02000000000000000000" pitchFamily="2"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Roboto" panose="02000000000000000000" pitchFamily="2"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Roboto" panose="02000000000000000000" pitchFamily="2"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4"/>
            </p:custDataLst>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custDataLst>
              <p:tags r:id="rId15"/>
            </p:custDataLst>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custDataLst>
              <p:tags r:id="rId16"/>
            </p:custDataLst>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251342-6384-43BB-930D-C95A6B1C75B9}" type="datetimeFigureOut">
              <a:rPr lang="en-US" smtClean="0">
                <a:solidFill>
                  <a:prstClr val="black">
                    <a:tint val="75000"/>
                  </a:prstClr>
                </a:solidFill>
              </a:rPr>
              <a:pPr/>
              <a:t>3/30/2016</a:t>
            </a:fld>
            <a:endParaRPr lang="en-US" dirty="0">
              <a:solidFill>
                <a:prstClr val="black">
                  <a:tint val="75000"/>
                </a:prstClr>
              </a:solidFill>
            </a:endParaRPr>
          </a:p>
        </p:txBody>
      </p:sp>
      <p:sp>
        <p:nvSpPr>
          <p:cNvPr id="5" name="Footer Placeholder 4"/>
          <p:cNvSpPr>
            <a:spLocks noGrp="1"/>
          </p:cNvSpPr>
          <p:nvPr>
            <p:ph type="ftr" sz="quarter" idx="3"/>
            <p:custDataLst>
              <p:tags r:id="rId17"/>
            </p:custDataLst>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custDataLst>
              <p:tags r:id="rId18"/>
            </p:custDataLst>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347961-881B-480F-9CAB-348A912F1CB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56761602"/>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Lst>
  <p:timing>
    <p:tnLst>
      <p:par>
        <p:cTn id="1" dur="indefinite" restart="never" nodeType="tmRoot"/>
      </p:par>
    </p:tnLst>
  </p:timing>
  <p:txStyles>
    <p:titleStyle>
      <a:lvl1pPr algn="ctr" defTabSz="914400" rtl="0" eaLnBrk="1" latinLnBrk="0" hangingPunct="1">
        <a:spcBef>
          <a:spcPct val="0"/>
        </a:spcBef>
        <a:buNone/>
        <a:defRPr sz="4400" b="0" i="0" u="none"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b="0" i="0" u="none"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6.xml"/><Relationship Id="rId7" Type="http://schemas.openxmlformats.org/officeDocument/2006/relationships/diagramColors" Target="../diagrams/colors2.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53.xml"/><Relationship Id="rId7" Type="http://schemas.openxmlformats.org/officeDocument/2006/relationships/hyperlink" Target="http://www.who.int/csr/disease/ebola/situation-reports/en/" TargetMode="Externa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Layout" Target="../slideLayouts/slideLayout2.xml"/><Relationship Id="rId5" Type="http://schemas.openxmlformats.org/officeDocument/2006/relationships/tags" Target="../tags/tag55.xml"/><Relationship Id="rId4" Type="http://schemas.openxmlformats.org/officeDocument/2006/relationships/tags" Target="../tags/tag54.xml"/><Relationship Id="rId9" Type="http://schemas.microsoft.com/office/2007/relationships/hdphoto" Target="../media/hdphoto1.wdp"/></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gi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tags" Target="../tags/tag5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60.xml"/></Relationships>
</file>

<file path=ppt/slides/_rels/slide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61.xml"/></Relationships>
</file>

<file path=ppt/slides/_rels/slide32.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microsoft.com/office/2007/relationships/hdphoto" Target="../media/hdphoto2.wdp"/></Relationships>
</file>

<file path=ppt/slides/_rels/slide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3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2.xml"/></Relationships>
</file>

<file path=ppt/slides/_rels/slide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ags" Target="../tags/tag63.xml"/></Relationships>
</file>

<file path=ppt/slides/_rels/slide5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4"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6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65.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image" Target="../media/image57.jpeg"/><Relationship Id="rId3" Type="http://schemas.openxmlformats.org/officeDocument/2006/relationships/tags" Target="../tags/tag71.xml"/><Relationship Id="rId21" Type="http://schemas.openxmlformats.org/officeDocument/2006/relationships/tags" Target="../tags/tag89.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image" Target="../media/image56.png"/><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image" Target="../media/image55.png"/><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image" Target="../media/image54.png"/><Relationship Id="rId10" Type="http://schemas.openxmlformats.org/officeDocument/2006/relationships/tags" Target="../tags/tag78.xml"/><Relationship Id="rId19" Type="http://schemas.openxmlformats.org/officeDocument/2006/relationships/tags" Target="../tags/tag87.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61.png"/></Relationships>
</file>

<file path=ppt/slides/_rels/slide6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66.gif"/><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hyperlink" Target="http://www.migrantclinician.org/" TargetMode="External"/><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67.jpeg"/><Relationship Id="rId5" Type="http://schemas.openxmlformats.org/officeDocument/2006/relationships/slideLayout" Target="../slideLayouts/slideLayout7.xml"/><Relationship Id="rId4" Type="http://schemas.openxmlformats.org/officeDocument/2006/relationships/tags" Target="../tags/tag93.xml"/></Relationships>
</file>

<file path=ppt/slides/_rels/slide8.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notesSlide" Target="../notesSlides/notesSlide3.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slideLayout" Target="../slideLayouts/slideLayout2.xml"/><Relationship Id="rId5" Type="http://schemas.openxmlformats.org/officeDocument/2006/relationships/tags" Target="../tags/tag48.xml"/><Relationship Id="rId4" Type="http://schemas.openxmlformats.org/officeDocument/2006/relationships/tags" Target="../tags/tag47.xml"/></Relationships>
</file>

<file path=ppt/slides/_rels/slide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0"/>
            <a:ext cx="9144000" cy="68378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37491" y="0"/>
            <a:ext cx="9181491" cy="6858000"/>
          </a:xfrm>
          <a:prstGeom prst="rect">
            <a:avLst/>
          </a:prstGeom>
          <a:gradFill flip="none" rotWithShape="1">
            <a:gsLst>
              <a:gs pos="0">
                <a:schemeClr val="accent1">
                  <a:tint val="66000"/>
                  <a:satMod val="160000"/>
                  <a:alpha val="14000"/>
                  <a:lumMod val="0"/>
                  <a:lumOff val="100000"/>
                </a:schemeClr>
              </a:gs>
              <a:gs pos="50000">
                <a:schemeClr val="accent1">
                  <a:tint val="44500"/>
                  <a:satMod val="160000"/>
                  <a:alpha val="65000"/>
                </a:schemeClr>
              </a:gs>
              <a:gs pos="100000">
                <a:schemeClr val="accent1">
                  <a:tint val="23500"/>
                  <a:satMod val="1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90000"/>
              </a:lnSpc>
            </a:pPr>
            <a:r>
              <a:rPr lang="en-US" sz="5400" dirty="0">
                <a:solidFill>
                  <a:prstClr val="white"/>
                </a:solidFill>
              </a:rPr>
              <a:t>Tuberculosis: Think Globally And Act Locally</a:t>
            </a:r>
            <a:r>
              <a:rPr lang="en-US" sz="5400" dirty="0" smtClean="0">
                <a:solidFill>
                  <a:prstClr val="white"/>
                </a:solidFill>
              </a:rPr>
              <a:t>”</a:t>
            </a:r>
            <a:r>
              <a:rPr lang="en-US" sz="2400" dirty="0">
                <a:solidFill>
                  <a:prstClr val="black"/>
                </a:solidFill>
              </a:rPr>
              <a:t> </a:t>
            </a:r>
            <a:endParaRPr lang="en-US" sz="2400" dirty="0" smtClean="0">
              <a:solidFill>
                <a:prstClr val="black"/>
              </a:solidFill>
            </a:endParaRPr>
          </a:p>
          <a:p>
            <a:pPr lvl="0" algn="ctr">
              <a:lnSpc>
                <a:spcPct val="90000"/>
              </a:lnSpc>
            </a:pPr>
            <a:endParaRPr lang="en-US" sz="2400" dirty="0" smtClean="0">
              <a:solidFill>
                <a:prstClr val="black"/>
              </a:solidFill>
            </a:endParaRPr>
          </a:p>
          <a:p>
            <a:pPr lvl="0" algn="ctr">
              <a:lnSpc>
                <a:spcPct val="90000"/>
              </a:lnSpc>
            </a:pPr>
            <a:r>
              <a:rPr lang="en-US" sz="2400" b="1" dirty="0" smtClean="0">
                <a:solidFill>
                  <a:prstClr val="black"/>
                </a:solidFill>
              </a:rPr>
              <a:t>Breathe </a:t>
            </a:r>
            <a:r>
              <a:rPr lang="en-US" sz="2400" b="1" dirty="0">
                <a:solidFill>
                  <a:prstClr val="black"/>
                </a:solidFill>
              </a:rPr>
              <a:t>Pennsylvania 2016 Tuberculosis Education </a:t>
            </a:r>
            <a:r>
              <a:rPr lang="en-US" sz="2400" b="1" dirty="0" smtClean="0">
                <a:solidFill>
                  <a:prstClr val="black"/>
                </a:solidFill>
              </a:rPr>
              <a:t>Conference</a:t>
            </a:r>
          </a:p>
          <a:p>
            <a:pPr lvl="0" algn="ctr">
              <a:lnSpc>
                <a:spcPct val="90000"/>
              </a:lnSpc>
            </a:pPr>
            <a:r>
              <a:rPr lang="en-US" sz="2400" b="1" dirty="0" smtClean="0">
                <a:solidFill>
                  <a:prstClr val="black"/>
                </a:solidFill>
              </a:rPr>
              <a:t>April 29, 2016</a:t>
            </a:r>
          </a:p>
          <a:p>
            <a:pPr lvl="0" algn="ctr">
              <a:lnSpc>
                <a:spcPct val="90000"/>
              </a:lnSpc>
            </a:pPr>
            <a:r>
              <a:rPr lang="en-US" sz="2400" b="1" dirty="0" smtClean="0">
                <a:solidFill>
                  <a:prstClr val="black"/>
                </a:solidFill>
              </a:rPr>
              <a:t>Pittsburg, PA</a:t>
            </a:r>
            <a:endParaRPr lang="en-US" sz="2400" b="1" dirty="0">
              <a:solidFill>
                <a:prstClr val="black"/>
              </a:solidFill>
            </a:endParaRPr>
          </a:p>
          <a:p>
            <a:pPr lvl="0" algn="ctr" defTabSz="457200">
              <a:defRPr/>
            </a:pPr>
            <a:endParaRPr lang="en-US" sz="5400" dirty="0">
              <a:solidFill>
                <a:prstClr val="white"/>
              </a:solidFill>
            </a:endParaRPr>
          </a:p>
        </p:txBody>
      </p:sp>
      <p:sp>
        <p:nvSpPr>
          <p:cNvPr id="5" name="TextBox 4"/>
          <p:cNvSpPr txBox="1"/>
          <p:nvPr/>
        </p:nvSpPr>
        <p:spPr>
          <a:xfrm>
            <a:off x="228600" y="4191000"/>
            <a:ext cx="8763000" cy="1477328"/>
          </a:xfrm>
          <a:prstGeom prst="rect">
            <a:avLst/>
          </a:prstGeom>
          <a:noFill/>
        </p:spPr>
        <p:txBody>
          <a:bodyPr wrap="square" rtlCol="0">
            <a:spAutoFit/>
          </a:bodyPr>
          <a:lstStyle/>
          <a:p>
            <a:pPr algn="r"/>
            <a:endParaRPr lang="en-US"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endParaRPr>
          </a:p>
          <a:p>
            <a:pPr algn="r"/>
            <a:r>
              <a:rPr lang="en-US" b="1"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rPr>
              <a:t>Ed Zuroweste, MD</a:t>
            </a:r>
          </a:p>
          <a:p>
            <a:pPr algn="r"/>
            <a:r>
              <a:rPr lang="en-US"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rPr>
              <a:t>Chief Medical Officer</a:t>
            </a:r>
          </a:p>
          <a:p>
            <a:pPr algn="r"/>
            <a:r>
              <a:rPr lang="en-US"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rPr>
              <a:t>    Migrant Clinicians Network</a:t>
            </a:r>
          </a:p>
          <a:p>
            <a:endParaRPr lang="en-US" dirty="0">
              <a:solidFill>
                <a:srgbClr val="4C5059"/>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29400" y="5410200"/>
            <a:ext cx="1905000" cy="1152525"/>
          </a:xfrm>
          <a:prstGeom prst="rect">
            <a:avLst/>
          </a:prstGeom>
        </p:spPr>
      </p:pic>
    </p:spTree>
    <p:extLst>
      <p:ext uri="{BB962C8B-B14F-4D97-AF65-F5344CB8AC3E}">
        <p14:creationId xmlns:p14="http://schemas.microsoft.com/office/powerpoint/2010/main" val="32445865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743849612"/>
              </p:ext>
            </p:extLst>
          </p:nvPr>
        </p:nvGraphicFramePr>
        <p:xfrm>
          <a:off x="228600" y="152400"/>
          <a:ext cx="8686800" cy="6477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867219613"/>
      </p:ext>
    </p:extLst>
  </p:cSld>
  <p:clrMapOvr>
    <a:masterClrMapping/>
  </p:clrMapOvr>
  <mc:AlternateContent xmlns:mc="http://schemas.openxmlformats.org/markup-compatibility/2006" xmlns:p14="http://schemas.microsoft.com/office/powerpoint/2010/main">
    <mc:Choice Requires="p14">
      <p:transition spd="slow" p14:dur="2000" advTm="3853"/>
    </mc:Choice>
    <mc:Fallback xmlns="">
      <p:transition spd="slow" advTm="385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graphicEl>
                                              <a:dgm id="{787F3C8A-06ED-4555-AE15-FCB827316FD2}"/>
                                            </p:graphicEl>
                                          </p:spTgt>
                                        </p:tgtEl>
                                        <p:attrNameLst>
                                          <p:attrName>style.visibility</p:attrName>
                                        </p:attrNameLst>
                                      </p:cBhvr>
                                      <p:to>
                                        <p:strVal val="visible"/>
                                      </p:to>
                                    </p:set>
                                    <p:animEffect transition="in" filter="fade">
                                      <p:cBhvr>
                                        <p:cTn id="7" dur="1000"/>
                                        <p:tgtEl>
                                          <p:spTgt spid="2">
                                            <p:graphicEl>
                                              <a:dgm id="{787F3C8A-06ED-4555-AE15-FCB827316FD2}"/>
                                            </p:graphicEl>
                                          </p:spTgt>
                                        </p:tgtEl>
                                      </p:cBhvr>
                                    </p:animEffect>
                                    <p:anim calcmode="lin" valueType="num">
                                      <p:cBhvr>
                                        <p:cTn id="8" dur="1000" fill="hold"/>
                                        <p:tgtEl>
                                          <p:spTgt spid="2">
                                            <p:graphicEl>
                                              <a:dgm id="{787F3C8A-06ED-4555-AE15-FCB827316FD2}"/>
                                            </p:graphicEl>
                                          </p:spTgt>
                                        </p:tgtEl>
                                        <p:attrNameLst>
                                          <p:attrName>ppt_x</p:attrName>
                                        </p:attrNameLst>
                                      </p:cBhvr>
                                      <p:tavLst>
                                        <p:tav tm="0">
                                          <p:val>
                                            <p:strVal val="#ppt_x"/>
                                          </p:val>
                                        </p:tav>
                                        <p:tav tm="100000">
                                          <p:val>
                                            <p:strVal val="#ppt_x"/>
                                          </p:val>
                                        </p:tav>
                                      </p:tavLst>
                                    </p:anim>
                                    <p:anim calcmode="lin" valueType="num">
                                      <p:cBhvr>
                                        <p:cTn id="9" dur="1000" fill="hold"/>
                                        <p:tgtEl>
                                          <p:spTgt spid="2">
                                            <p:graphicEl>
                                              <a:dgm id="{787F3C8A-06ED-4555-AE15-FCB827316FD2}"/>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graphicEl>
                                              <a:dgm id="{7E0B9BF3-9466-4443-BBD8-A2F0E482A4CB}"/>
                                            </p:graphicEl>
                                          </p:spTgt>
                                        </p:tgtEl>
                                        <p:attrNameLst>
                                          <p:attrName>style.visibility</p:attrName>
                                        </p:attrNameLst>
                                      </p:cBhvr>
                                      <p:to>
                                        <p:strVal val="visible"/>
                                      </p:to>
                                    </p:set>
                                    <p:animEffect transition="in" filter="fade">
                                      <p:cBhvr>
                                        <p:cTn id="12" dur="1000"/>
                                        <p:tgtEl>
                                          <p:spTgt spid="2">
                                            <p:graphicEl>
                                              <a:dgm id="{7E0B9BF3-9466-4443-BBD8-A2F0E482A4CB}"/>
                                            </p:graphicEl>
                                          </p:spTgt>
                                        </p:tgtEl>
                                      </p:cBhvr>
                                    </p:animEffect>
                                    <p:anim calcmode="lin" valueType="num">
                                      <p:cBhvr>
                                        <p:cTn id="13" dur="1000" fill="hold"/>
                                        <p:tgtEl>
                                          <p:spTgt spid="2">
                                            <p:graphicEl>
                                              <a:dgm id="{7E0B9BF3-9466-4443-BBD8-A2F0E482A4CB}"/>
                                            </p:graphicEl>
                                          </p:spTgt>
                                        </p:tgtEl>
                                        <p:attrNameLst>
                                          <p:attrName>ppt_x</p:attrName>
                                        </p:attrNameLst>
                                      </p:cBhvr>
                                      <p:tavLst>
                                        <p:tav tm="0">
                                          <p:val>
                                            <p:strVal val="#ppt_x"/>
                                          </p:val>
                                        </p:tav>
                                        <p:tav tm="100000">
                                          <p:val>
                                            <p:strVal val="#ppt_x"/>
                                          </p:val>
                                        </p:tav>
                                      </p:tavLst>
                                    </p:anim>
                                    <p:anim calcmode="lin" valueType="num">
                                      <p:cBhvr>
                                        <p:cTn id="14" dur="1000" fill="hold"/>
                                        <p:tgtEl>
                                          <p:spTgt spid="2">
                                            <p:graphicEl>
                                              <a:dgm id="{7E0B9BF3-9466-4443-BBD8-A2F0E482A4CB}"/>
                                            </p:graphic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2">
                                            <p:graphicEl>
                                              <a:dgm id="{A92DE140-E01A-4207-8E4C-55A3974F121C}"/>
                                            </p:graphicEl>
                                          </p:spTgt>
                                        </p:tgtEl>
                                        <p:attrNameLst>
                                          <p:attrName>style.visibility</p:attrName>
                                        </p:attrNameLst>
                                      </p:cBhvr>
                                      <p:to>
                                        <p:strVal val="visible"/>
                                      </p:to>
                                    </p:set>
                                    <p:animEffect transition="in" filter="fade">
                                      <p:cBhvr>
                                        <p:cTn id="19" dur="1000"/>
                                        <p:tgtEl>
                                          <p:spTgt spid="2">
                                            <p:graphicEl>
                                              <a:dgm id="{A92DE140-E01A-4207-8E4C-55A3974F121C}"/>
                                            </p:graphicEl>
                                          </p:spTgt>
                                        </p:tgtEl>
                                      </p:cBhvr>
                                    </p:animEffect>
                                    <p:anim calcmode="lin" valueType="num">
                                      <p:cBhvr>
                                        <p:cTn id="20" dur="1000" fill="hold"/>
                                        <p:tgtEl>
                                          <p:spTgt spid="2">
                                            <p:graphicEl>
                                              <a:dgm id="{A92DE140-E01A-4207-8E4C-55A3974F121C}"/>
                                            </p:graphicEl>
                                          </p:spTgt>
                                        </p:tgtEl>
                                        <p:attrNameLst>
                                          <p:attrName>ppt_x</p:attrName>
                                        </p:attrNameLst>
                                      </p:cBhvr>
                                      <p:tavLst>
                                        <p:tav tm="0">
                                          <p:val>
                                            <p:strVal val="#ppt_x"/>
                                          </p:val>
                                        </p:tav>
                                        <p:tav tm="100000">
                                          <p:val>
                                            <p:strVal val="#ppt_x"/>
                                          </p:val>
                                        </p:tav>
                                      </p:tavLst>
                                    </p:anim>
                                    <p:anim calcmode="lin" valueType="num">
                                      <p:cBhvr>
                                        <p:cTn id="21" dur="1000" fill="hold"/>
                                        <p:tgtEl>
                                          <p:spTgt spid="2">
                                            <p:graphicEl>
                                              <a:dgm id="{A92DE140-E01A-4207-8E4C-55A3974F121C}"/>
                                            </p:graphic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2">
                                            <p:graphicEl>
                                              <a:dgm id="{3391826C-0F35-4C54-BE8C-8F21BE9D27FF}"/>
                                            </p:graphicEl>
                                          </p:spTgt>
                                        </p:tgtEl>
                                        <p:attrNameLst>
                                          <p:attrName>style.visibility</p:attrName>
                                        </p:attrNameLst>
                                      </p:cBhvr>
                                      <p:to>
                                        <p:strVal val="visible"/>
                                      </p:to>
                                    </p:set>
                                    <p:animEffect transition="in" filter="fade">
                                      <p:cBhvr>
                                        <p:cTn id="24" dur="1000"/>
                                        <p:tgtEl>
                                          <p:spTgt spid="2">
                                            <p:graphicEl>
                                              <a:dgm id="{3391826C-0F35-4C54-BE8C-8F21BE9D27FF}"/>
                                            </p:graphicEl>
                                          </p:spTgt>
                                        </p:tgtEl>
                                      </p:cBhvr>
                                    </p:animEffect>
                                    <p:anim calcmode="lin" valueType="num">
                                      <p:cBhvr>
                                        <p:cTn id="25" dur="1000" fill="hold"/>
                                        <p:tgtEl>
                                          <p:spTgt spid="2">
                                            <p:graphicEl>
                                              <a:dgm id="{3391826C-0F35-4C54-BE8C-8F21BE9D27FF}"/>
                                            </p:graphicEl>
                                          </p:spTgt>
                                        </p:tgtEl>
                                        <p:attrNameLst>
                                          <p:attrName>ppt_x</p:attrName>
                                        </p:attrNameLst>
                                      </p:cBhvr>
                                      <p:tavLst>
                                        <p:tav tm="0">
                                          <p:val>
                                            <p:strVal val="#ppt_x"/>
                                          </p:val>
                                        </p:tav>
                                        <p:tav tm="100000">
                                          <p:val>
                                            <p:strVal val="#ppt_x"/>
                                          </p:val>
                                        </p:tav>
                                      </p:tavLst>
                                    </p:anim>
                                    <p:anim calcmode="lin" valueType="num">
                                      <p:cBhvr>
                                        <p:cTn id="26" dur="1000" fill="hold"/>
                                        <p:tgtEl>
                                          <p:spTgt spid="2">
                                            <p:graphicEl>
                                              <a:dgm id="{3391826C-0F35-4C54-BE8C-8F21BE9D27FF}"/>
                                            </p:graphic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2">
                                            <p:graphicEl>
                                              <a:dgm id="{A487FC20-50A9-4B5E-80DC-5C15298FA428}"/>
                                            </p:graphicEl>
                                          </p:spTgt>
                                        </p:tgtEl>
                                        <p:attrNameLst>
                                          <p:attrName>style.visibility</p:attrName>
                                        </p:attrNameLst>
                                      </p:cBhvr>
                                      <p:to>
                                        <p:strVal val="visible"/>
                                      </p:to>
                                    </p:set>
                                    <p:animEffect transition="in" filter="fade">
                                      <p:cBhvr>
                                        <p:cTn id="31" dur="1000"/>
                                        <p:tgtEl>
                                          <p:spTgt spid="2">
                                            <p:graphicEl>
                                              <a:dgm id="{A487FC20-50A9-4B5E-80DC-5C15298FA428}"/>
                                            </p:graphicEl>
                                          </p:spTgt>
                                        </p:tgtEl>
                                      </p:cBhvr>
                                    </p:animEffect>
                                    <p:anim calcmode="lin" valueType="num">
                                      <p:cBhvr>
                                        <p:cTn id="32" dur="1000" fill="hold"/>
                                        <p:tgtEl>
                                          <p:spTgt spid="2">
                                            <p:graphicEl>
                                              <a:dgm id="{A487FC20-50A9-4B5E-80DC-5C15298FA428}"/>
                                            </p:graphicEl>
                                          </p:spTgt>
                                        </p:tgtEl>
                                        <p:attrNameLst>
                                          <p:attrName>ppt_x</p:attrName>
                                        </p:attrNameLst>
                                      </p:cBhvr>
                                      <p:tavLst>
                                        <p:tav tm="0">
                                          <p:val>
                                            <p:strVal val="#ppt_x"/>
                                          </p:val>
                                        </p:tav>
                                        <p:tav tm="100000">
                                          <p:val>
                                            <p:strVal val="#ppt_x"/>
                                          </p:val>
                                        </p:tav>
                                      </p:tavLst>
                                    </p:anim>
                                    <p:anim calcmode="lin" valueType="num">
                                      <p:cBhvr>
                                        <p:cTn id="33" dur="1000" fill="hold"/>
                                        <p:tgtEl>
                                          <p:spTgt spid="2">
                                            <p:graphicEl>
                                              <a:dgm id="{A487FC20-50A9-4B5E-80DC-5C15298FA428}"/>
                                            </p:graphic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
                                            <p:graphicEl>
                                              <a:dgm id="{86DF658C-A47D-424A-984C-94F517B34368}"/>
                                            </p:graphicEl>
                                          </p:spTgt>
                                        </p:tgtEl>
                                        <p:attrNameLst>
                                          <p:attrName>style.visibility</p:attrName>
                                        </p:attrNameLst>
                                      </p:cBhvr>
                                      <p:to>
                                        <p:strVal val="visible"/>
                                      </p:to>
                                    </p:set>
                                    <p:animEffect transition="in" filter="fade">
                                      <p:cBhvr>
                                        <p:cTn id="36" dur="1000"/>
                                        <p:tgtEl>
                                          <p:spTgt spid="2">
                                            <p:graphicEl>
                                              <a:dgm id="{86DF658C-A47D-424A-984C-94F517B34368}"/>
                                            </p:graphicEl>
                                          </p:spTgt>
                                        </p:tgtEl>
                                      </p:cBhvr>
                                    </p:animEffect>
                                    <p:anim calcmode="lin" valueType="num">
                                      <p:cBhvr>
                                        <p:cTn id="37" dur="1000" fill="hold"/>
                                        <p:tgtEl>
                                          <p:spTgt spid="2">
                                            <p:graphicEl>
                                              <a:dgm id="{86DF658C-A47D-424A-984C-94F517B34368}"/>
                                            </p:graphicEl>
                                          </p:spTgt>
                                        </p:tgtEl>
                                        <p:attrNameLst>
                                          <p:attrName>ppt_x</p:attrName>
                                        </p:attrNameLst>
                                      </p:cBhvr>
                                      <p:tavLst>
                                        <p:tav tm="0">
                                          <p:val>
                                            <p:strVal val="#ppt_x"/>
                                          </p:val>
                                        </p:tav>
                                        <p:tav tm="100000">
                                          <p:val>
                                            <p:strVal val="#ppt_x"/>
                                          </p:val>
                                        </p:tav>
                                      </p:tavLst>
                                    </p:anim>
                                    <p:anim calcmode="lin" valueType="num">
                                      <p:cBhvr>
                                        <p:cTn id="38" dur="1000" fill="hold"/>
                                        <p:tgtEl>
                                          <p:spTgt spid="2">
                                            <p:graphicEl>
                                              <a:dgm id="{86DF658C-A47D-424A-984C-94F517B34368}"/>
                                            </p:graphic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2">
                                            <p:graphicEl>
                                              <a:dgm id="{56A7A4FB-A8C6-4321-A663-735785CABFE9}"/>
                                            </p:graphicEl>
                                          </p:spTgt>
                                        </p:tgtEl>
                                        <p:attrNameLst>
                                          <p:attrName>style.visibility</p:attrName>
                                        </p:attrNameLst>
                                      </p:cBhvr>
                                      <p:to>
                                        <p:strVal val="visible"/>
                                      </p:to>
                                    </p:set>
                                    <p:animEffect transition="in" filter="fade">
                                      <p:cBhvr>
                                        <p:cTn id="43" dur="1000"/>
                                        <p:tgtEl>
                                          <p:spTgt spid="2">
                                            <p:graphicEl>
                                              <a:dgm id="{56A7A4FB-A8C6-4321-A663-735785CABFE9}"/>
                                            </p:graphicEl>
                                          </p:spTgt>
                                        </p:tgtEl>
                                      </p:cBhvr>
                                    </p:animEffect>
                                    <p:anim calcmode="lin" valueType="num">
                                      <p:cBhvr>
                                        <p:cTn id="44" dur="1000" fill="hold"/>
                                        <p:tgtEl>
                                          <p:spTgt spid="2">
                                            <p:graphicEl>
                                              <a:dgm id="{56A7A4FB-A8C6-4321-A663-735785CABFE9}"/>
                                            </p:graphicEl>
                                          </p:spTgt>
                                        </p:tgtEl>
                                        <p:attrNameLst>
                                          <p:attrName>ppt_x</p:attrName>
                                        </p:attrNameLst>
                                      </p:cBhvr>
                                      <p:tavLst>
                                        <p:tav tm="0">
                                          <p:val>
                                            <p:strVal val="#ppt_x"/>
                                          </p:val>
                                        </p:tav>
                                        <p:tav tm="100000">
                                          <p:val>
                                            <p:strVal val="#ppt_x"/>
                                          </p:val>
                                        </p:tav>
                                      </p:tavLst>
                                    </p:anim>
                                    <p:anim calcmode="lin" valueType="num">
                                      <p:cBhvr>
                                        <p:cTn id="45" dur="1000" fill="hold"/>
                                        <p:tgtEl>
                                          <p:spTgt spid="2">
                                            <p:graphicEl>
                                              <a:dgm id="{56A7A4FB-A8C6-4321-A663-735785CABFE9}"/>
                                            </p:graphicEl>
                                          </p:spTgt>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2">
                                            <p:graphicEl>
                                              <a:dgm id="{9AD616B0-004D-42B1-9A00-42DDC3877AFD}"/>
                                            </p:graphicEl>
                                          </p:spTgt>
                                        </p:tgtEl>
                                        <p:attrNameLst>
                                          <p:attrName>style.visibility</p:attrName>
                                        </p:attrNameLst>
                                      </p:cBhvr>
                                      <p:to>
                                        <p:strVal val="visible"/>
                                      </p:to>
                                    </p:set>
                                    <p:animEffect transition="in" filter="fade">
                                      <p:cBhvr>
                                        <p:cTn id="48" dur="1000"/>
                                        <p:tgtEl>
                                          <p:spTgt spid="2">
                                            <p:graphicEl>
                                              <a:dgm id="{9AD616B0-004D-42B1-9A00-42DDC3877AFD}"/>
                                            </p:graphicEl>
                                          </p:spTgt>
                                        </p:tgtEl>
                                      </p:cBhvr>
                                    </p:animEffect>
                                    <p:anim calcmode="lin" valueType="num">
                                      <p:cBhvr>
                                        <p:cTn id="49" dur="1000" fill="hold"/>
                                        <p:tgtEl>
                                          <p:spTgt spid="2">
                                            <p:graphicEl>
                                              <a:dgm id="{9AD616B0-004D-42B1-9A00-42DDC3877AFD}"/>
                                            </p:graphicEl>
                                          </p:spTgt>
                                        </p:tgtEl>
                                        <p:attrNameLst>
                                          <p:attrName>ppt_x</p:attrName>
                                        </p:attrNameLst>
                                      </p:cBhvr>
                                      <p:tavLst>
                                        <p:tav tm="0">
                                          <p:val>
                                            <p:strVal val="#ppt_x"/>
                                          </p:val>
                                        </p:tav>
                                        <p:tav tm="100000">
                                          <p:val>
                                            <p:strVal val="#ppt_x"/>
                                          </p:val>
                                        </p:tav>
                                      </p:tavLst>
                                    </p:anim>
                                    <p:anim calcmode="lin" valueType="num">
                                      <p:cBhvr>
                                        <p:cTn id="50" dur="1000" fill="hold"/>
                                        <p:tgtEl>
                                          <p:spTgt spid="2">
                                            <p:graphicEl>
                                              <a:dgm id="{9AD616B0-004D-42B1-9A00-42DDC3877AFD}"/>
                                            </p:graphicEl>
                                          </p:spTgt>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2">
                                            <p:graphicEl>
                                              <a:dgm id="{E2BE47C3-F626-473E-9029-A403D51DD71F}"/>
                                            </p:graphicEl>
                                          </p:spTgt>
                                        </p:tgtEl>
                                        <p:attrNameLst>
                                          <p:attrName>style.visibility</p:attrName>
                                        </p:attrNameLst>
                                      </p:cBhvr>
                                      <p:to>
                                        <p:strVal val="visible"/>
                                      </p:to>
                                    </p:set>
                                    <p:animEffect transition="in" filter="fade">
                                      <p:cBhvr>
                                        <p:cTn id="55" dur="1000"/>
                                        <p:tgtEl>
                                          <p:spTgt spid="2">
                                            <p:graphicEl>
                                              <a:dgm id="{E2BE47C3-F626-473E-9029-A403D51DD71F}"/>
                                            </p:graphicEl>
                                          </p:spTgt>
                                        </p:tgtEl>
                                      </p:cBhvr>
                                    </p:animEffect>
                                    <p:anim calcmode="lin" valueType="num">
                                      <p:cBhvr>
                                        <p:cTn id="56" dur="1000" fill="hold"/>
                                        <p:tgtEl>
                                          <p:spTgt spid="2">
                                            <p:graphicEl>
                                              <a:dgm id="{E2BE47C3-F626-473E-9029-A403D51DD71F}"/>
                                            </p:graphicEl>
                                          </p:spTgt>
                                        </p:tgtEl>
                                        <p:attrNameLst>
                                          <p:attrName>ppt_x</p:attrName>
                                        </p:attrNameLst>
                                      </p:cBhvr>
                                      <p:tavLst>
                                        <p:tav tm="0">
                                          <p:val>
                                            <p:strVal val="#ppt_x"/>
                                          </p:val>
                                        </p:tav>
                                        <p:tav tm="100000">
                                          <p:val>
                                            <p:strVal val="#ppt_x"/>
                                          </p:val>
                                        </p:tav>
                                      </p:tavLst>
                                    </p:anim>
                                    <p:anim calcmode="lin" valueType="num">
                                      <p:cBhvr>
                                        <p:cTn id="57" dur="1000" fill="hold"/>
                                        <p:tgtEl>
                                          <p:spTgt spid="2">
                                            <p:graphicEl>
                                              <a:dgm id="{E2BE47C3-F626-473E-9029-A403D51DD71F}"/>
                                            </p:graphicEl>
                                          </p:spTgt>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2">
                                            <p:graphicEl>
                                              <a:dgm id="{BF813A04-F66C-4033-A08C-E2D43A384980}"/>
                                            </p:graphicEl>
                                          </p:spTgt>
                                        </p:tgtEl>
                                        <p:attrNameLst>
                                          <p:attrName>style.visibility</p:attrName>
                                        </p:attrNameLst>
                                      </p:cBhvr>
                                      <p:to>
                                        <p:strVal val="visible"/>
                                      </p:to>
                                    </p:set>
                                    <p:animEffect transition="in" filter="fade">
                                      <p:cBhvr>
                                        <p:cTn id="60" dur="1000"/>
                                        <p:tgtEl>
                                          <p:spTgt spid="2">
                                            <p:graphicEl>
                                              <a:dgm id="{BF813A04-F66C-4033-A08C-E2D43A384980}"/>
                                            </p:graphicEl>
                                          </p:spTgt>
                                        </p:tgtEl>
                                      </p:cBhvr>
                                    </p:animEffect>
                                    <p:anim calcmode="lin" valueType="num">
                                      <p:cBhvr>
                                        <p:cTn id="61" dur="1000" fill="hold"/>
                                        <p:tgtEl>
                                          <p:spTgt spid="2">
                                            <p:graphicEl>
                                              <a:dgm id="{BF813A04-F66C-4033-A08C-E2D43A384980}"/>
                                            </p:graphicEl>
                                          </p:spTgt>
                                        </p:tgtEl>
                                        <p:attrNameLst>
                                          <p:attrName>ppt_x</p:attrName>
                                        </p:attrNameLst>
                                      </p:cBhvr>
                                      <p:tavLst>
                                        <p:tav tm="0">
                                          <p:val>
                                            <p:strVal val="#ppt_x"/>
                                          </p:val>
                                        </p:tav>
                                        <p:tav tm="100000">
                                          <p:val>
                                            <p:strVal val="#ppt_x"/>
                                          </p:val>
                                        </p:tav>
                                      </p:tavLst>
                                    </p:anim>
                                    <p:anim calcmode="lin" valueType="num">
                                      <p:cBhvr>
                                        <p:cTn id="62" dur="1000" fill="hold"/>
                                        <p:tgtEl>
                                          <p:spTgt spid="2">
                                            <p:graphicEl>
                                              <a:dgm id="{BF813A04-F66C-4033-A08C-E2D43A384980}"/>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idx="4294967295"/>
          </p:nvPr>
        </p:nvSpPr>
        <p:spPr>
          <a:xfrm>
            <a:off x="-541338" y="239713"/>
            <a:ext cx="9685338" cy="369887"/>
          </a:xfrm>
        </p:spPr>
        <p:txBody>
          <a:bodyPr lIns="0" tIns="0" rIns="0" bIns="0" anchor="b" anchorCtr="1">
            <a:spAutoFit/>
          </a:bodyPr>
          <a:lstStyle/>
          <a:p>
            <a:r>
              <a:rPr lang="en-US" sz="2400" dirty="0" smtClean="0"/>
              <a:t>Estimated TB Burden, 2014 22 high burden countries</a:t>
            </a:r>
            <a:r>
              <a:rPr lang="en-US" sz="2400" baseline="30000" dirty="0" smtClean="0"/>
              <a:t>*</a:t>
            </a:r>
            <a:endParaRPr lang="en-US" sz="2400" dirty="0" smtClean="0"/>
          </a:p>
        </p:txBody>
      </p:sp>
      <p:sp>
        <p:nvSpPr>
          <p:cNvPr id="4" name="TextBox 3"/>
          <p:cNvSpPr txBox="1"/>
          <p:nvPr/>
        </p:nvSpPr>
        <p:spPr>
          <a:xfrm>
            <a:off x="575733" y="6400803"/>
            <a:ext cx="7315200" cy="396875"/>
          </a:xfrm>
          <a:prstGeom prst="rect">
            <a:avLst/>
          </a:prstGeom>
          <a:noFill/>
        </p:spPr>
        <p:txBody>
          <a:bodyPr>
            <a:spAutoFit/>
          </a:bodyPr>
          <a:lstStyle/>
          <a:p>
            <a:pPr eaLnBrk="0" fontAlgn="base" hangingPunct="0">
              <a:spcBef>
                <a:spcPct val="0"/>
              </a:spcBef>
              <a:spcAft>
                <a:spcPct val="0"/>
              </a:spcAft>
              <a:defRPr/>
            </a:pPr>
            <a:r>
              <a:rPr lang="en-US" sz="2000" b="1" dirty="0">
                <a:solidFill>
                  <a:srgbClr val="002060"/>
                </a:solidFill>
              </a:rPr>
              <a:t>*Ranks based on numbers of smear-positive cases</a:t>
            </a:r>
          </a:p>
        </p:txBody>
      </p:sp>
      <p:graphicFrame>
        <p:nvGraphicFramePr>
          <p:cNvPr id="343114" name="Group 74"/>
          <p:cNvGraphicFramePr>
            <a:graphicFrameLocks noGrp="1"/>
          </p:cNvGraphicFramePr>
          <p:nvPr>
            <p:extLst>
              <p:ext uri="{D42A27DB-BD31-4B8C-83A1-F6EECF244321}">
                <p14:modId xmlns:p14="http://schemas.microsoft.com/office/powerpoint/2010/main" val="3411900393"/>
              </p:ext>
            </p:extLst>
          </p:nvPr>
        </p:nvGraphicFramePr>
        <p:xfrm>
          <a:off x="152400" y="914402"/>
          <a:ext cx="8148502" cy="5862926"/>
        </p:xfrm>
        <a:graphic>
          <a:graphicData uri="http://schemas.openxmlformats.org/drawingml/2006/table">
            <a:tbl>
              <a:tblPr/>
              <a:tblGrid>
                <a:gridCol w="2825660"/>
                <a:gridCol w="1365340"/>
                <a:gridCol w="2214437"/>
                <a:gridCol w="1743065"/>
              </a:tblGrid>
              <a:tr h="515117">
                <a:tc>
                  <a:txBody>
                    <a:bodyPr/>
                    <a:lstStyle/>
                    <a:p>
                      <a:pPr marL="0" marR="0" lvl="0" indent="0" algn="l" defTabSz="914400" rtl="0" eaLnBrk="0" fontAlgn="base" latinLnBrk="0" hangingPunct="0">
                        <a:lnSpc>
                          <a:spcPct val="100000"/>
                        </a:lnSpc>
                        <a:spcBef>
                          <a:spcPct val="20000"/>
                        </a:spcBef>
                        <a:spcAft>
                          <a:spcPct val="0"/>
                        </a:spcAft>
                        <a:buClr>
                          <a:schemeClr val="tx2"/>
                        </a:buClr>
                        <a:buSzPct val="150000"/>
                        <a:buFontTx/>
                        <a:buNone/>
                        <a:tabLst/>
                      </a:pPr>
                      <a:endParaRPr kumimoji="0" lang="en-US" sz="1400" b="1" i="0" u="none" strike="noStrike" cap="none" normalizeH="0" baseline="0" dirty="0" smtClean="0">
                        <a:ln>
                          <a:noFill/>
                        </a:ln>
                        <a:solidFill>
                          <a:srgbClr val="0000CC"/>
                        </a:solidFill>
                        <a:effectLst/>
                        <a:latin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CC"/>
                          </a:solidFill>
                          <a:effectLst/>
                          <a:latin typeface="Arial" pitchFamily="34" charset="0"/>
                          <a:cs typeface="Times New Roman" pitchFamily="18" charset="0"/>
                        </a:rPr>
                        <a:t># of new cases</a:t>
                      </a:r>
                      <a:endParaRPr kumimoji="0" lang="en-US" sz="1400" b="1" i="0" u="none" strike="noStrike" cap="none" normalizeH="0" baseline="0" dirty="0" smtClean="0">
                        <a:ln>
                          <a:noFill/>
                        </a:ln>
                        <a:solidFill>
                          <a:srgbClr val="0000CC"/>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
                          <a:schemeClr val="tx2"/>
                        </a:buClr>
                        <a:buSzPct val="150000"/>
                        <a:buFontTx/>
                        <a:buNone/>
                        <a:tabLst/>
                      </a:pPr>
                      <a:endParaRPr kumimoji="0" lang="en-US" sz="1400" b="1" i="0" u="none" strike="noStrike" cap="none" normalizeH="0" baseline="0" dirty="0" smtClean="0">
                        <a:ln>
                          <a:noFill/>
                        </a:ln>
                        <a:solidFill>
                          <a:srgbClr val="0000CC"/>
                        </a:solidFill>
                        <a:effectLst/>
                        <a:latin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CC"/>
                          </a:solidFill>
                          <a:effectLst/>
                          <a:latin typeface="Arial" pitchFamily="34" charset="0"/>
                          <a:cs typeface="Arial" pitchFamily="34" charset="0"/>
                        </a:rPr>
                        <a:t># of</a:t>
                      </a:r>
                      <a:r>
                        <a:rPr kumimoji="0" lang="en-US" sz="1400" b="1" i="0" u="none" strike="noStrike" cap="none" normalizeH="0" baseline="0" dirty="0" smtClean="0">
                          <a:ln>
                            <a:noFill/>
                          </a:ln>
                          <a:solidFill>
                            <a:srgbClr val="0000CC"/>
                          </a:solidFill>
                          <a:effectLst/>
                          <a:latin typeface="Times New Roman" pitchFamily="18" charset="0"/>
                          <a:cs typeface="Arial" pitchFamily="34" charset="0"/>
                        </a:rPr>
                        <a:t> </a:t>
                      </a:r>
                      <a:r>
                        <a:rPr kumimoji="0" lang="en-US" sz="1400" b="1" i="0" u="none" strike="noStrike" cap="none" normalizeH="0" baseline="0" dirty="0" smtClean="0">
                          <a:ln>
                            <a:noFill/>
                          </a:ln>
                          <a:solidFill>
                            <a:srgbClr val="0000CC"/>
                          </a:solidFill>
                          <a:effectLst/>
                          <a:latin typeface="Arial" pitchFamily="34" charset="0"/>
                          <a:cs typeface="Arial" pitchFamily="34" charset="0"/>
                        </a:rPr>
                        <a:t>new cases</a:t>
                      </a: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331419">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  1. India (17.5%)</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1,683,915</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12. Vietnam</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02,087</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331419">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  2. Indonesia (10.4%)</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1,000,000</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13. Nigeria</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91,354</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331419">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defRPr/>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  3. China (8.6%)</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826,155</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chemeClr val="tx2">
                              <a:lumMod val="50000"/>
                            </a:schemeClr>
                          </a:solidFill>
                          <a:effectLst/>
                          <a:latin typeface="Arial" pitchFamily="34" charset="0"/>
                          <a:cs typeface="Times New Roman" pitchFamily="18" charset="0"/>
                        </a:rPr>
                        <a:t>  14. Kenya</a:t>
                      </a:r>
                      <a:endParaRPr kumimoji="0" lang="en-US" sz="1400" b="1" i="0" u="none" strike="noStrike" cap="none" normalizeH="0" baseline="0" dirty="0" smtClean="0">
                        <a:ln>
                          <a:noFill/>
                        </a:ln>
                        <a:solidFill>
                          <a:schemeClr val="tx2">
                            <a:lumMod val="50000"/>
                          </a:schemeClr>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chemeClr val="tx2">
                              <a:lumMod val="50000"/>
                            </a:schemeClr>
                          </a:solidFill>
                          <a:effectLst/>
                          <a:latin typeface="Arial" pitchFamily="34" charset="0"/>
                          <a:cs typeface="Times New Roman" pitchFamily="18" charset="0"/>
                        </a:rPr>
                        <a:t>89,294</a:t>
                      </a:r>
                      <a:endParaRPr kumimoji="0" lang="en-US" sz="1400" b="1" i="0" u="none" strike="noStrike" cap="none" normalizeH="0" baseline="0" dirty="0" smtClean="0">
                        <a:ln>
                          <a:noFill/>
                        </a:ln>
                        <a:solidFill>
                          <a:schemeClr val="tx2">
                            <a:lumMod val="50000"/>
                          </a:schemeClr>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331419">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4. South Africa</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318,193</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  15. Brazil </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FF0000"/>
                          </a:solidFill>
                          <a:effectLst/>
                          <a:latin typeface="Arial" pitchFamily="34" charset="0"/>
                          <a:cs typeface="Times New Roman" pitchFamily="18" charset="0"/>
                        </a:rPr>
                        <a:t>81,512</a:t>
                      </a:r>
                      <a:endParaRPr kumimoji="0" lang="en-US" sz="1400" b="1" i="0" u="none" strike="noStrike" cap="none" normalizeH="0" baseline="0" dirty="0" smtClean="0">
                        <a:ln>
                          <a:noFill/>
                        </a:ln>
                        <a:solidFill>
                          <a:srgbClr val="FF0000"/>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596554">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5. Pakistan</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316,577</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16. Thailand</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71,618</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596554">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6. Philippines</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267,436</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17. Tanzania</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63,151</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331419">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7. Bangladesh </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defRPr/>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96,797</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18. Mozambique</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58,270</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596554">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defRPr/>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8. Myanmar</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41,957</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19. Uganda</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46,171</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331419">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9. Russia</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36,168</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20. Cambodia</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43,738</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596554">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0. Ethiopia</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19,592</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21. Afghanistan</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32,712</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r h="596554">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1. DR Congo</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116,894</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  22. Zimbabwe</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0" fontAlgn="base" latinLnBrk="0" hangingPunct="0">
                        <a:lnSpc>
                          <a:spcPct val="100000"/>
                        </a:lnSpc>
                        <a:spcBef>
                          <a:spcPct val="0"/>
                        </a:spcBef>
                        <a:spcAft>
                          <a:spcPct val="0"/>
                        </a:spcAft>
                        <a:buClr>
                          <a:schemeClr val="tx2"/>
                        </a:buClr>
                        <a:buSzPct val="150000"/>
                        <a:buFontTx/>
                        <a:buNone/>
                        <a:tabLst/>
                      </a:pPr>
                      <a:r>
                        <a:rPr kumimoji="0" lang="en-US" sz="1400" b="1" i="0" u="none" strike="noStrike" cap="none" normalizeH="0" baseline="0" dirty="0" smtClean="0">
                          <a:ln>
                            <a:noFill/>
                          </a:ln>
                          <a:solidFill>
                            <a:srgbClr val="000066"/>
                          </a:solidFill>
                          <a:effectLst/>
                          <a:latin typeface="Arial" pitchFamily="34" charset="0"/>
                          <a:cs typeface="Times New Roman" pitchFamily="18" charset="0"/>
                        </a:rPr>
                        <a:t>32,016</a:t>
                      </a:r>
                      <a:endParaRPr kumimoji="0" lang="en-US" sz="1400" b="1" i="0" u="none" strike="noStrike" cap="none" normalizeH="0" baseline="0" dirty="0" smtClean="0">
                        <a:ln>
                          <a:noFill/>
                        </a:ln>
                        <a:solidFill>
                          <a:srgbClr val="000066"/>
                        </a:solidFill>
                        <a:effectLst/>
                        <a:latin typeface="Arial" pitchFamily="34" charset="0"/>
                        <a:cs typeface="Arial" pitchFamily="34" charset="0"/>
                      </a:endParaRPr>
                    </a:p>
                  </a:txBody>
                  <a:tcPr marL="81280" marR="81280" horzOverflow="overflow">
                    <a:lnL w="25400" cap="flat" cmpd="sng" algn="ctr">
                      <a:solidFill>
                        <a:srgbClr val="000066"/>
                      </a:solidFill>
                      <a:prstDash val="solid"/>
                      <a:round/>
                      <a:headEnd type="none" w="med" len="med"/>
                      <a:tailEnd type="none" w="med" len="med"/>
                    </a:lnL>
                    <a:lnR w="25400" cap="flat" cmpd="sng" algn="ctr">
                      <a:solidFill>
                        <a:srgbClr val="000066"/>
                      </a:solidFill>
                      <a:prstDash val="solid"/>
                      <a:round/>
                      <a:headEnd type="none" w="med" len="med"/>
                      <a:tailEnd type="none" w="med" len="med"/>
                    </a:lnR>
                    <a:lnT w="25400" cap="flat" cmpd="sng" algn="ctr">
                      <a:solidFill>
                        <a:srgbClr val="000066"/>
                      </a:solidFill>
                      <a:prstDash val="solid"/>
                      <a:round/>
                      <a:headEnd type="none" w="med" len="med"/>
                      <a:tailEnd type="none" w="med" len="med"/>
                    </a:lnT>
                    <a:lnB w="25400" cap="flat" cmpd="sng" algn="ctr">
                      <a:solidFill>
                        <a:srgbClr val="000066"/>
                      </a:solidFill>
                      <a:prstDash val="solid"/>
                      <a:round/>
                      <a:headEnd type="none" w="med" len="med"/>
                      <a:tailEnd type="none" w="med" len="med"/>
                    </a:lnB>
                    <a:lnTlToBr>
                      <a:noFill/>
                    </a:lnTlToBr>
                    <a:lnBlToTr>
                      <a:noFill/>
                    </a:lnBlToTr>
                    <a:solidFill>
                      <a:schemeClr val="bg1"/>
                    </a:solidFill>
                  </a:tcPr>
                </a:tc>
              </a:tr>
            </a:tbl>
          </a:graphicData>
        </a:graphic>
      </p:graphicFrame>
      <p:sp>
        <p:nvSpPr>
          <p:cNvPr id="20551" name="Text Box 71"/>
          <p:cNvSpPr txBox="1">
            <a:spLocks noChangeArrowheads="1"/>
          </p:cNvSpPr>
          <p:nvPr/>
        </p:nvSpPr>
        <p:spPr bwMode="auto">
          <a:xfrm>
            <a:off x="6029182" y="6422129"/>
            <a:ext cx="1828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a:solidFill>
                  <a:schemeClr val="tx1"/>
                </a:solidFill>
                <a:latin typeface="Arial" charset="0"/>
              </a:defRPr>
            </a:lvl1pPr>
            <a:lvl2pPr marL="742950" indent="-285750">
              <a:defRPr sz="3600">
                <a:solidFill>
                  <a:schemeClr val="tx1"/>
                </a:solidFill>
                <a:latin typeface="Arial" charset="0"/>
              </a:defRPr>
            </a:lvl2pPr>
            <a:lvl3pPr marL="1143000" indent="-228600">
              <a:defRPr sz="3600">
                <a:solidFill>
                  <a:schemeClr val="tx1"/>
                </a:solidFill>
                <a:latin typeface="Arial" charset="0"/>
              </a:defRPr>
            </a:lvl3pPr>
            <a:lvl4pPr marL="1600200" indent="-228600">
              <a:defRPr sz="3600">
                <a:solidFill>
                  <a:schemeClr val="tx1"/>
                </a:solidFill>
                <a:latin typeface="Arial" charset="0"/>
              </a:defRPr>
            </a:lvl4pPr>
            <a:lvl5pPr marL="2057400" indent="-228600">
              <a:defRPr sz="3600">
                <a:solidFill>
                  <a:schemeClr val="tx1"/>
                </a:solidFill>
                <a:latin typeface="Arial" charset="0"/>
              </a:defRPr>
            </a:lvl5pPr>
            <a:lvl6pPr marL="2514600" indent="-228600" algn="ctr" eaLnBrk="0" fontAlgn="base" hangingPunct="0">
              <a:spcBef>
                <a:spcPct val="0"/>
              </a:spcBef>
              <a:spcAft>
                <a:spcPct val="0"/>
              </a:spcAft>
              <a:defRPr sz="3600">
                <a:solidFill>
                  <a:schemeClr val="tx1"/>
                </a:solidFill>
                <a:latin typeface="Arial" charset="0"/>
              </a:defRPr>
            </a:lvl6pPr>
            <a:lvl7pPr marL="2971800" indent="-228600" algn="ctr" eaLnBrk="0" fontAlgn="base" hangingPunct="0">
              <a:spcBef>
                <a:spcPct val="0"/>
              </a:spcBef>
              <a:spcAft>
                <a:spcPct val="0"/>
              </a:spcAft>
              <a:defRPr sz="3600">
                <a:solidFill>
                  <a:schemeClr val="tx1"/>
                </a:solidFill>
                <a:latin typeface="Arial" charset="0"/>
              </a:defRPr>
            </a:lvl7pPr>
            <a:lvl8pPr marL="3429000" indent="-228600" algn="ctr" eaLnBrk="0" fontAlgn="base" hangingPunct="0">
              <a:spcBef>
                <a:spcPct val="0"/>
              </a:spcBef>
              <a:spcAft>
                <a:spcPct val="0"/>
              </a:spcAft>
              <a:defRPr sz="3600">
                <a:solidFill>
                  <a:schemeClr val="tx1"/>
                </a:solidFill>
                <a:latin typeface="Arial" charset="0"/>
              </a:defRPr>
            </a:lvl8pPr>
            <a:lvl9pPr marL="3886200" indent="-228600" algn="ctr" eaLnBrk="0" fontAlgn="base" hangingPunct="0">
              <a:spcBef>
                <a:spcPct val="0"/>
              </a:spcBef>
              <a:spcAft>
                <a:spcPct val="0"/>
              </a:spcAft>
              <a:defRPr sz="3600">
                <a:solidFill>
                  <a:schemeClr val="tx1"/>
                </a:solidFill>
                <a:latin typeface="Arial" charset="0"/>
              </a:defRPr>
            </a:lvl9pPr>
          </a:lstStyle>
          <a:p>
            <a:pPr fontAlgn="base">
              <a:spcBef>
                <a:spcPct val="50000"/>
              </a:spcBef>
              <a:spcAft>
                <a:spcPct val="0"/>
              </a:spcAft>
            </a:pPr>
            <a:r>
              <a:rPr lang="en-US" sz="1400" b="1" dirty="0" smtClean="0">
                <a:solidFill>
                  <a:srgbClr val="000066"/>
                </a:solidFill>
                <a:cs typeface="Arial" charset="0"/>
              </a:rPr>
              <a:t>WHO Update, 2015</a:t>
            </a:r>
          </a:p>
        </p:txBody>
      </p:sp>
    </p:spTree>
    <p:extLst>
      <p:ext uri="{BB962C8B-B14F-4D97-AF65-F5344CB8AC3E}">
        <p14:creationId xmlns:p14="http://schemas.microsoft.com/office/powerpoint/2010/main" val="3637743651"/>
      </p:ext>
    </p:extLst>
  </p:cSld>
  <p:clrMapOvr>
    <a:masterClrMapping/>
  </p:clrMapOvr>
  <mc:AlternateContent xmlns:mc="http://schemas.openxmlformats.org/markup-compatibility/2006" xmlns:p14="http://schemas.microsoft.com/office/powerpoint/2010/main">
    <mc:Choice Requires="p14">
      <p:transition spd="slow" p14:dur="2000" advTm="7730"/>
    </mc:Choice>
    <mc:Fallback xmlns="">
      <p:transition spd="slow" advTm="773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TBHIV"/>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a:xfrm>
            <a:off x="0" y="0"/>
            <a:ext cx="9144000" cy="5334996"/>
          </a:xfrm>
          <a:prstGeom prst="rect">
            <a:avLst/>
          </a:prstGeom>
        </p:spPr>
      </p:pic>
      <p:sp>
        <p:nvSpPr>
          <p:cNvPr id="3" name="TextBox 2"/>
          <p:cNvSpPr txBox="1"/>
          <p:nvPr/>
        </p:nvSpPr>
        <p:spPr>
          <a:xfrm>
            <a:off x="-31532" y="4457343"/>
            <a:ext cx="9175531" cy="2400657"/>
          </a:xfrm>
          <a:prstGeom prst="rect">
            <a:avLst/>
          </a:prstGeom>
          <a:solidFill>
            <a:srgbClr val="336699"/>
          </a:solidFill>
        </p:spPr>
        <p:txBody>
          <a:bodyPr wrap="square" rtlCol="0">
            <a:spAutoFit/>
          </a:bodyPr>
          <a:lstStyle/>
          <a:p>
            <a:pPr marL="285750" indent="-285750">
              <a:spcAft>
                <a:spcPts val="600"/>
              </a:spcAft>
              <a:buFont typeface="Arial" pitchFamily="34" charset="0"/>
              <a:buChar char="•"/>
            </a:pPr>
            <a:r>
              <a:rPr lang="en-US" sz="2800" dirty="0" smtClean="0">
                <a:solidFill>
                  <a:schemeClr val="bg1"/>
                </a:solidFill>
              </a:rPr>
              <a:t>1/3 of 33 million people living with HIV/AIDS co-infected with TB &gt;10 million people</a:t>
            </a:r>
          </a:p>
          <a:p>
            <a:pPr marL="285750" indent="-285750">
              <a:spcAft>
                <a:spcPts val="600"/>
              </a:spcAft>
              <a:buFont typeface="Arial" pitchFamily="34" charset="0"/>
              <a:buChar char="•"/>
            </a:pPr>
            <a:r>
              <a:rPr lang="en-US" sz="2800" dirty="0" smtClean="0">
                <a:solidFill>
                  <a:schemeClr val="bg1"/>
                </a:solidFill>
              </a:rPr>
              <a:t>Without treatment 90% will die within months</a:t>
            </a:r>
          </a:p>
          <a:p>
            <a:pPr marL="285750" indent="-285750">
              <a:spcAft>
                <a:spcPts val="600"/>
              </a:spcAft>
              <a:buFont typeface="Arial" pitchFamily="34" charset="0"/>
              <a:buChar char="•"/>
            </a:pPr>
            <a:r>
              <a:rPr lang="en-US" sz="2800" dirty="0" smtClean="0">
                <a:solidFill>
                  <a:schemeClr val="bg1"/>
                </a:solidFill>
              </a:rPr>
              <a:t>TB is the leading cause of death among HIV positive people (up to 50% of all patients worldwide)</a:t>
            </a:r>
            <a:endParaRPr lang="en-US" sz="2800" dirty="0">
              <a:solidFill>
                <a:schemeClr val="bg1"/>
              </a:solidFill>
            </a:endParaRPr>
          </a:p>
        </p:txBody>
      </p:sp>
      <p:sp>
        <p:nvSpPr>
          <p:cNvPr id="4" name="TextBox 3"/>
          <p:cNvSpPr txBox="1"/>
          <p:nvPr/>
        </p:nvSpPr>
        <p:spPr>
          <a:xfrm>
            <a:off x="762000" y="0"/>
            <a:ext cx="2819400" cy="1107996"/>
          </a:xfrm>
          <a:prstGeom prst="rect">
            <a:avLst/>
          </a:prstGeom>
          <a:noFill/>
        </p:spPr>
        <p:txBody>
          <a:bodyPr wrap="square" rtlCol="0">
            <a:spAutoFit/>
          </a:bodyPr>
          <a:lstStyle/>
          <a:p>
            <a:r>
              <a:rPr lang="en-US" sz="6600" b="1" dirty="0" smtClean="0">
                <a:solidFill>
                  <a:schemeClr val="accent2">
                    <a:lumMod val="75000"/>
                  </a:schemeClr>
                </a:solidFill>
              </a:rPr>
              <a:t>HIV-TB</a:t>
            </a:r>
            <a:endParaRPr lang="en-US" sz="6600" b="1" dirty="0">
              <a:solidFill>
                <a:schemeClr val="accent2">
                  <a:lumMod val="75000"/>
                </a:schemeClr>
              </a:solidFill>
            </a:endParaRPr>
          </a:p>
        </p:txBody>
      </p:sp>
    </p:spTree>
    <p:extLst>
      <p:ext uri="{BB962C8B-B14F-4D97-AF65-F5344CB8AC3E}">
        <p14:creationId xmlns:p14="http://schemas.microsoft.com/office/powerpoint/2010/main" val="1438479295"/>
      </p:ext>
    </p:extLst>
  </p:cSld>
  <p:clrMapOvr>
    <a:masterClrMapping/>
  </p:clrMapOvr>
  <mc:AlternateContent xmlns:mc="http://schemas.openxmlformats.org/markup-compatibility/2006" xmlns:p14="http://schemas.microsoft.com/office/powerpoint/2010/main">
    <mc:Choice Requires="p14">
      <p:transition spd="slow" p14:dur="2000" advTm="1696"/>
    </mc:Choice>
    <mc:Fallback xmlns="">
      <p:transition spd="slow" advTm="1696"/>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BoyLosesHead"/>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076903" y="0"/>
            <a:ext cx="6096000" cy="6863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76200" y="631212"/>
            <a:ext cx="3000703" cy="3046988"/>
          </a:xfrm>
          <a:prstGeom prst="rect">
            <a:avLst/>
          </a:prstGeom>
          <a:noFill/>
        </p:spPr>
        <p:txBody>
          <a:bodyPr wrap="square" rtlCol="0">
            <a:spAutoFit/>
          </a:bodyPr>
          <a:lstStyle/>
          <a:p>
            <a:r>
              <a:rPr lang="en-US" sz="4800" dirty="0" smtClean="0"/>
              <a:t>Emergence of “Worst-Case“ TB Scenarios</a:t>
            </a:r>
            <a:endParaRPr lang="en-US" sz="4800" dirty="0"/>
          </a:p>
        </p:txBody>
      </p:sp>
    </p:spTree>
    <p:extLst>
      <p:ext uri="{BB962C8B-B14F-4D97-AF65-F5344CB8AC3E}">
        <p14:creationId xmlns:p14="http://schemas.microsoft.com/office/powerpoint/2010/main" val="3804210004"/>
      </p:ext>
    </p:extLst>
  </p:cSld>
  <p:clrMapOvr>
    <a:masterClrMapping/>
  </p:clrMapOvr>
  <mc:AlternateContent xmlns:mc="http://schemas.openxmlformats.org/markup-compatibility/2006" xmlns:p14="http://schemas.microsoft.com/office/powerpoint/2010/main">
    <mc:Choice Requires="p14">
      <p:transition spd="slow" p14:dur="2000" advTm="1610"/>
    </mc:Choice>
    <mc:Fallback xmlns="">
      <p:transition spd="slow" advTm="161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1569232075"/>
              </p:ext>
            </p:extLst>
          </p:nvPr>
        </p:nvGraphicFramePr>
        <p:xfrm>
          <a:off x="152400" y="381000"/>
          <a:ext cx="8763000" cy="6477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Rectangle 2"/>
          <p:cNvSpPr/>
          <p:nvPr/>
        </p:nvSpPr>
        <p:spPr>
          <a:xfrm>
            <a:off x="76200" y="152399"/>
            <a:ext cx="6852389" cy="830997"/>
          </a:xfrm>
          <a:prstGeom prst="rect">
            <a:avLst/>
          </a:prstGeom>
        </p:spPr>
        <p:txBody>
          <a:bodyPr wrap="none">
            <a:spAutoFit/>
          </a:bodyPr>
          <a:lstStyle/>
          <a:p>
            <a:r>
              <a:rPr lang="en-US" sz="4800" dirty="0"/>
              <a:t>“Worst-Case“ TB Scenarios</a:t>
            </a:r>
          </a:p>
        </p:txBody>
      </p:sp>
    </p:spTree>
    <p:custDataLst>
      <p:tags r:id="rId1"/>
    </p:custDataLst>
    <p:extLst>
      <p:ext uri="{BB962C8B-B14F-4D97-AF65-F5344CB8AC3E}">
        <p14:creationId xmlns:p14="http://schemas.microsoft.com/office/powerpoint/2010/main" val="3220938472"/>
      </p:ext>
    </p:extLst>
  </p:cSld>
  <p:clrMapOvr>
    <a:masterClrMapping/>
  </p:clrMapOvr>
  <mc:AlternateContent xmlns:mc="http://schemas.openxmlformats.org/markup-compatibility/2006" xmlns:p14="http://schemas.microsoft.com/office/powerpoint/2010/main">
    <mc:Choice Requires="p14">
      <p:transition spd="slow" p14:dur="2000" advTm="10286"/>
    </mc:Choice>
    <mc:Fallback xmlns="">
      <p:transition spd="slow" advTm="10286"/>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graphicEl>
                                              <a:dgm id="{724A16E9-9BB7-4D9C-9631-2D8DF5FBDA38}"/>
                                            </p:graphicEl>
                                          </p:spTgt>
                                        </p:tgtEl>
                                        <p:attrNameLst>
                                          <p:attrName>style.visibility</p:attrName>
                                        </p:attrNameLst>
                                      </p:cBhvr>
                                      <p:to>
                                        <p:strVal val="visible"/>
                                      </p:to>
                                    </p:set>
                                    <p:animEffect transition="in" filter="fade">
                                      <p:cBhvr>
                                        <p:cTn id="7" dur="500"/>
                                        <p:tgtEl>
                                          <p:spTgt spid="2">
                                            <p:graphicEl>
                                              <a:dgm id="{724A16E9-9BB7-4D9C-9631-2D8DF5FBDA38}"/>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graphicEl>
                                              <a:dgm id="{701FF138-1E2B-48D1-8B02-2A083A9A04BA}"/>
                                            </p:graphicEl>
                                          </p:spTgt>
                                        </p:tgtEl>
                                        <p:attrNameLst>
                                          <p:attrName>style.visibility</p:attrName>
                                        </p:attrNameLst>
                                      </p:cBhvr>
                                      <p:to>
                                        <p:strVal val="visible"/>
                                      </p:to>
                                    </p:set>
                                    <p:animEffect transition="in" filter="fade">
                                      <p:cBhvr>
                                        <p:cTn id="10" dur="500"/>
                                        <p:tgtEl>
                                          <p:spTgt spid="2">
                                            <p:graphicEl>
                                              <a:dgm id="{701FF138-1E2B-48D1-8B02-2A083A9A04BA}"/>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graphicEl>
                                              <a:dgm id="{49000F77-03A6-4CB8-BD23-EB4D8ECB7C8E}"/>
                                            </p:graphicEl>
                                          </p:spTgt>
                                        </p:tgtEl>
                                        <p:attrNameLst>
                                          <p:attrName>style.visibility</p:attrName>
                                        </p:attrNameLst>
                                      </p:cBhvr>
                                      <p:to>
                                        <p:strVal val="visible"/>
                                      </p:to>
                                    </p:set>
                                    <p:animEffect transition="in" filter="fade">
                                      <p:cBhvr>
                                        <p:cTn id="13" dur="500"/>
                                        <p:tgtEl>
                                          <p:spTgt spid="2">
                                            <p:graphicEl>
                                              <a:dgm id="{49000F77-03A6-4CB8-BD23-EB4D8ECB7C8E}"/>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graphicEl>
                                              <a:dgm id="{FB548066-51B8-4731-94F0-46CA6E6881FB}"/>
                                            </p:graphicEl>
                                          </p:spTgt>
                                        </p:tgtEl>
                                        <p:attrNameLst>
                                          <p:attrName>style.visibility</p:attrName>
                                        </p:attrNameLst>
                                      </p:cBhvr>
                                      <p:to>
                                        <p:strVal val="visible"/>
                                      </p:to>
                                    </p:set>
                                    <p:animEffect transition="in" filter="fade">
                                      <p:cBhvr>
                                        <p:cTn id="16" dur="500"/>
                                        <p:tgtEl>
                                          <p:spTgt spid="2">
                                            <p:graphicEl>
                                              <a:dgm id="{FB548066-51B8-4731-94F0-46CA6E6881FB}"/>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
                                            <p:graphicEl>
                                              <a:dgm id="{D20ADC57-BC65-4851-BE56-C31BEDC8DF6A}"/>
                                            </p:graphicEl>
                                          </p:spTgt>
                                        </p:tgtEl>
                                        <p:attrNameLst>
                                          <p:attrName>style.visibility</p:attrName>
                                        </p:attrNameLst>
                                      </p:cBhvr>
                                      <p:to>
                                        <p:strVal val="visible"/>
                                      </p:to>
                                    </p:set>
                                    <p:animEffect transition="in" filter="fade">
                                      <p:cBhvr>
                                        <p:cTn id="19" dur="500"/>
                                        <p:tgtEl>
                                          <p:spTgt spid="2">
                                            <p:graphicEl>
                                              <a:dgm id="{D20ADC57-BC65-4851-BE56-C31BEDC8DF6A}"/>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
                                            <p:graphicEl>
                                              <a:dgm id="{E495C007-FF97-424D-BB9B-842158F0B06F}"/>
                                            </p:graphicEl>
                                          </p:spTgt>
                                        </p:tgtEl>
                                        <p:attrNameLst>
                                          <p:attrName>style.visibility</p:attrName>
                                        </p:attrNameLst>
                                      </p:cBhvr>
                                      <p:to>
                                        <p:strVal val="visible"/>
                                      </p:to>
                                    </p:set>
                                    <p:animEffect transition="in" filter="fade">
                                      <p:cBhvr>
                                        <p:cTn id="22" dur="500"/>
                                        <p:tgtEl>
                                          <p:spTgt spid="2">
                                            <p:graphicEl>
                                              <a:dgm id="{E495C007-FF97-424D-BB9B-842158F0B06F}"/>
                                            </p:graphic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
                                            <p:graphicEl>
                                              <a:dgm id="{5E114E7B-A9F0-486D-8A19-FA1735AC0FB7}"/>
                                            </p:graphicEl>
                                          </p:spTgt>
                                        </p:tgtEl>
                                        <p:attrNameLst>
                                          <p:attrName>style.visibility</p:attrName>
                                        </p:attrNameLst>
                                      </p:cBhvr>
                                      <p:to>
                                        <p:strVal val="visible"/>
                                      </p:to>
                                    </p:set>
                                    <p:animEffect transition="in" filter="fade">
                                      <p:cBhvr>
                                        <p:cTn id="25" dur="500"/>
                                        <p:tgtEl>
                                          <p:spTgt spid="2">
                                            <p:graphicEl>
                                              <a:dgm id="{5E114E7B-A9F0-486D-8A19-FA1735AC0FB7}"/>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
                                            <p:graphicEl>
                                              <a:dgm id="{ECEED026-E271-470A-B770-B4310776FA7D}"/>
                                            </p:graphicEl>
                                          </p:spTgt>
                                        </p:tgtEl>
                                        <p:attrNameLst>
                                          <p:attrName>style.visibility</p:attrName>
                                        </p:attrNameLst>
                                      </p:cBhvr>
                                      <p:to>
                                        <p:strVal val="visible"/>
                                      </p:to>
                                    </p:set>
                                    <p:animEffect transition="in" filter="fade">
                                      <p:cBhvr>
                                        <p:cTn id="30" dur="500"/>
                                        <p:tgtEl>
                                          <p:spTgt spid="2">
                                            <p:graphicEl>
                                              <a:dgm id="{ECEED026-E271-470A-B770-B4310776FA7D}"/>
                                            </p:graphic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
                                            <p:graphicEl>
                                              <a:dgm id="{468D2C51-F312-4EC4-93BC-22BB540FBD32}"/>
                                            </p:graphicEl>
                                          </p:spTgt>
                                        </p:tgtEl>
                                        <p:attrNameLst>
                                          <p:attrName>style.visibility</p:attrName>
                                        </p:attrNameLst>
                                      </p:cBhvr>
                                      <p:to>
                                        <p:strVal val="visible"/>
                                      </p:to>
                                    </p:set>
                                    <p:animEffect transition="in" filter="fade">
                                      <p:cBhvr>
                                        <p:cTn id="33" dur="500"/>
                                        <p:tgtEl>
                                          <p:spTgt spid="2">
                                            <p:graphicEl>
                                              <a:dgm id="{468D2C51-F312-4EC4-93BC-22BB540FBD32}"/>
                                            </p:graphic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
                                            <p:graphicEl>
                                              <a:dgm id="{9049FE29-4240-4E81-BAF8-5F6967FAEFAE}"/>
                                            </p:graphicEl>
                                          </p:spTgt>
                                        </p:tgtEl>
                                        <p:attrNameLst>
                                          <p:attrName>style.visibility</p:attrName>
                                        </p:attrNameLst>
                                      </p:cBhvr>
                                      <p:to>
                                        <p:strVal val="visible"/>
                                      </p:to>
                                    </p:set>
                                    <p:animEffect transition="in" filter="fade">
                                      <p:cBhvr>
                                        <p:cTn id="36" dur="500"/>
                                        <p:tgtEl>
                                          <p:spTgt spid="2">
                                            <p:graphicEl>
                                              <a:dgm id="{9049FE29-4240-4E81-BAF8-5F6967FAEFAE}"/>
                                            </p:graphic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
                                            <p:graphicEl>
                                              <a:dgm id="{18FE1DF5-E97B-4F3A-9283-A35D58B51952}"/>
                                            </p:graphicEl>
                                          </p:spTgt>
                                        </p:tgtEl>
                                        <p:attrNameLst>
                                          <p:attrName>style.visibility</p:attrName>
                                        </p:attrNameLst>
                                      </p:cBhvr>
                                      <p:to>
                                        <p:strVal val="visible"/>
                                      </p:to>
                                    </p:set>
                                    <p:animEffect transition="in" filter="fade">
                                      <p:cBhvr>
                                        <p:cTn id="41" dur="500"/>
                                        <p:tgtEl>
                                          <p:spTgt spid="2">
                                            <p:graphicEl>
                                              <a:dgm id="{18FE1DF5-E97B-4F3A-9283-A35D58B51952}"/>
                                            </p:graphic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
                                            <p:graphicEl>
                                              <a:dgm id="{082F89DB-DCFB-4498-85C8-A4F236440F24}"/>
                                            </p:graphicEl>
                                          </p:spTgt>
                                        </p:tgtEl>
                                        <p:attrNameLst>
                                          <p:attrName>style.visibility</p:attrName>
                                        </p:attrNameLst>
                                      </p:cBhvr>
                                      <p:to>
                                        <p:strVal val="visible"/>
                                      </p:to>
                                    </p:set>
                                    <p:animEffect transition="in" filter="fade">
                                      <p:cBhvr>
                                        <p:cTn id="44" dur="500"/>
                                        <p:tgtEl>
                                          <p:spTgt spid="2">
                                            <p:graphicEl>
                                              <a:dgm id="{082F89DB-DCFB-4498-85C8-A4F236440F24}"/>
                                            </p:graphic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
                                            <p:graphicEl>
                                              <a:dgm id="{02F91C60-A9FC-43F9-A41D-DE9D95049364}"/>
                                            </p:graphicEl>
                                          </p:spTgt>
                                        </p:tgtEl>
                                        <p:attrNameLst>
                                          <p:attrName>style.visibility</p:attrName>
                                        </p:attrNameLst>
                                      </p:cBhvr>
                                      <p:to>
                                        <p:strVal val="visible"/>
                                      </p:to>
                                    </p:set>
                                    <p:animEffect transition="in" filter="fade">
                                      <p:cBhvr>
                                        <p:cTn id="47" dur="500"/>
                                        <p:tgtEl>
                                          <p:spTgt spid="2">
                                            <p:graphicEl>
                                              <a:dgm id="{02F91C60-A9FC-43F9-A41D-DE9D95049364}"/>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
                                            <p:graphicEl>
                                              <a:dgm id="{3401B80D-6FD1-4D5C-85B8-DF76FDCC6A5F}"/>
                                            </p:graphicEl>
                                          </p:spTgt>
                                        </p:tgtEl>
                                        <p:attrNameLst>
                                          <p:attrName>style.visibility</p:attrName>
                                        </p:attrNameLst>
                                      </p:cBhvr>
                                      <p:to>
                                        <p:strVal val="visible"/>
                                      </p:to>
                                    </p:set>
                                    <p:animEffect transition="in" filter="fade">
                                      <p:cBhvr>
                                        <p:cTn id="50" dur="500"/>
                                        <p:tgtEl>
                                          <p:spTgt spid="2">
                                            <p:graphicEl>
                                              <a:dgm id="{3401B80D-6FD1-4D5C-85B8-DF76FDCC6A5F}"/>
                                            </p:graphic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
                                            <p:graphicEl>
                                              <a:dgm id="{09A9B7AB-2D9F-4079-B8C8-C4C7DA4B9449}"/>
                                            </p:graphicEl>
                                          </p:spTgt>
                                        </p:tgtEl>
                                        <p:attrNameLst>
                                          <p:attrName>style.visibility</p:attrName>
                                        </p:attrNameLst>
                                      </p:cBhvr>
                                      <p:to>
                                        <p:strVal val="visible"/>
                                      </p:to>
                                    </p:set>
                                    <p:animEffect transition="in" filter="fade">
                                      <p:cBhvr>
                                        <p:cTn id="55" dur="500"/>
                                        <p:tgtEl>
                                          <p:spTgt spid="2">
                                            <p:graphicEl>
                                              <a:dgm id="{09A9B7AB-2D9F-4079-B8C8-C4C7DA4B9449}"/>
                                            </p:graphic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
                                            <p:graphicEl>
                                              <a:dgm id="{F052E9F2-70AC-460B-BE76-032BDB3CF950}"/>
                                            </p:graphicEl>
                                          </p:spTgt>
                                        </p:tgtEl>
                                        <p:attrNameLst>
                                          <p:attrName>style.visibility</p:attrName>
                                        </p:attrNameLst>
                                      </p:cBhvr>
                                      <p:to>
                                        <p:strVal val="visible"/>
                                      </p:to>
                                    </p:set>
                                    <p:animEffect transition="in" filter="fade">
                                      <p:cBhvr>
                                        <p:cTn id="58" dur="500"/>
                                        <p:tgtEl>
                                          <p:spTgt spid="2">
                                            <p:graphicEl>
                                              <a:dgm id="{F052E9F2-70AC-460B-BE76-032BDB3CF950}"/>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152400"/>
            <a:ext cx="9372600" cy="1371600"/>
          </a:xfrm>
          <a:solidFill>
            <a:schemeClr val="accent1">
              <a:lumMod val="60000"/>
              <a:lumOff val="40000"/>
            </a:schemeClr>
          </a:solidFill>
        </p:spPr>
        <p:txBody>
          <a:bodyPr>
            <a:normAutofit fontScale="90000"/>
          </a:bodyPr>
          <a:lstStyle/>
          <a:p>
            <a:r>
              <a:rPr lang="en-US" dirty="0" smtClean="0"/>
              <a:t>Ebola vs Tuberculosis </a:t>
            </a:r>
            <a:br>
              <a:rPr lang="en-US" dirty="0" smtClean="0"/>
            </a:br>
            <a:r>
              <a:rPr lang="en-US" dirty="0" smtClean="0"/>
              <a:t>Which Disease is Greatest Risk for US</a:t>
            </a:r>
            <a:endParaRPr lang="en-US" dirty="0"/>
          </a:p>
        </p:txBody>
      </p:sp>
      <p:pic>
        <p:nvPicPr>
          <p:cNvPr id="4" name="Content Placeholder 3"/>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0" y="1143000"/>
            <a:ext cx="9144000" cy="5829299"/>
          </a:xfrm>
        </p:spPr>
      </p:pic>
    </p:spTree>
    <p:extLst>
      <p:ext uri="{BB962C8B-B14F-4D97-AF65-F5344CB8AC3E}">
        <p14:creationId xmlns:p14="http://schemas.microsoft.com/office/powerpoint/2010/main" val="12308913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217345" y="103742"/>
            <a:ext cx="8602535" cy="1325563"/>
          </a:xfrm>
        </p:spPr>
        <p:txBody>
          <a:bodyPr>
            <a:normAutofit fontScale="90000"/>
          </a:bodyPr>
          <a:lstStyle/>
          <a:p>
            <a:pPr algn="ctr"/>
            <a:r>
              <a:rPr lang="en-US" dirty="0" smtClean="0"/>
              <a:t>Ebola Epidemic in West Africa            (Dec. 2013-March 2016)</a:t>
            </a:r>
            <a:endParaRPr lang="en-US" dirty="0"/>
          </a:p>
        </p:txBody>
      </p:sp>
      <p:sp>
        <p:nvSpPr>
          <p:cNvPr id="9" name="TextBox 8"/>
          <p:cNvSpPr txBox="1"/>
          <p:nvPr>
            <p:custDataLst>
              <p:tags r:id="rId2"/>
            </p:custDataLst>
          </p:nvPr>
        </p:nvSpPr>
        <p:spPr>
          <a:xfrm>
            <a:off x="99941" y="1600200"/>
            <a:ext cx="2643259" cy="369332"/>
          </a:xfrm>
          <a:prstGeom prst="rect">
            <a:avLst/>
          </a:prstGeom>
          <a:solidFill>
            <a:srgbClr val="FF0000"/>
          </a:solidFill>
        </p:spPr>
        <p:txBody>
          <a:bodyPr wrap="square" rtlCol="0">
            <a:spAutoFit/>
          </a:bodyPr>
          <a:lstStyle/>
          <a:p>
            <a:r>
              <a:rPr lang="en-US" b="1" dirty="0" smtClean="0">
                <a:solidFill>
                  <a:schemeClr val="bg1"/>
                </a:solidFill>
              </a:rPr>
              <a:t>As of 25 March 2016: </a:t>
            </a:r>
          </a:p>
        </p:txBody>
      </p:sp>
      <p:sp>
        <p:nvSpPr>
          <p:cNvPr id="11" name="Rectangle 10"/>
          <p:cNvSpPr/>
          <p:nvPr>
            <p:custDataLst>
              <p:tags r:id="rId3"/>
            </p:custDataLst>
          </p:nvPr>
        </p:nvSpPr>
        <p:spPr>
          <a:xfrm>
            <a:off x="99941" y="6379247"/>
            <a:ext cx="4924425" cy="307777"/>
          </a:xfrm>
          <a:prstGeom prst="rect">
            <a:avLst/>
          </a:prstGeom>
        </p:spPr>
        <p:txBody>
          <a:bodyPr wrap="square">
            <a:spAutoFit/>
          </a:bodyPr>
          <a:lstStyle/>
          <a:p>
            <a:r>
              <a:rPr lang="en-US" sz="1400" dirty="0">
                <a:solidFill>
                  <a:schemeClr val="tx1">
                    <a:lumMod val="50000"/>
                    <a:lumOff val="50000"/>
                  </a:schemeClr>
                </a:solidFill>
              </a:rPr>
              <a:t>http://www.who.int/csr/disease/ebola/situation-reports/en</a:t>
            </a:r>
            <a:r>
              <a:rPr lang="en-US" sz="1400" dirty="0" smtClean="0">
                <a:solidFill>
                  <a:schemeClr val="tx1">
                    <a:lumMod val="50000"/>
                    <a:lumOff val="50000"/>
                  </a:schemeClr>
                </a:solidFill>
                <a:hlinkClick r:id="rId7"/>
              </a:rPr>
              <a:t>/</a:t>
            </a:r>
            <a:r>
              <a:rPr lang="en-US" sz="1400" dirty="0" smtClean="0">
                <a:solidFill>
                  <a:schemeClr val="tx1">
                    <a:lumMod val="50000"/>
                    <a:lumOff val="50000"/>
                  </a:schemeClr>
                </a:solidFill>
              </a:rPr>
              <a:t> </a:t>
            </a:r>
            <a:endParaRPr lang="en-US" sz="1400" dirty="0">
              <a:solidFill>
                <a:schemeClr val="tx1">
                  <a:lumMod val="50000"/>
                  <a:lumOff val="50000"/>
                </a:schemeClr>
              </a:solidFill>
            </a:endParaRPr>
          </a:p>
        </p:txBody>
      </p:sp>
      <p:graphicFrame>
        <p:nvGraphicFramePr>
          <p:cNvPr id="2" name="Table 1"/>
          <p:cNvGraphicFramePr>
            <a:graphicFrameLocks noGrp="1"/>
          </p:cNvGraphicFramePr>
          <p:nvPr>
            <p:custDataLst>
              <p:tags r:id="rId4"/>
            </p:custDataLst>
            <p:extLst>
              <p:ext uri="{D42A27DB-BD31-4B8C-83A1-F6EECF244321}">
                <p14:modId xmlns:p14="http://schemas.microsoft.com/office/powerpoint/2010/main" val="490953803"/>
              </p:ext>
            </p:extLst>
          </p:nvPr>
        </p:nvGraphicFramePr>
        <p:xfrm>
          <a:off x="99941" y="1969532"/>
          <a:ext cx="4394085" cy="4248952"/>
        </p:xfrm>
        <a:graphic>
          <a:graphicData uri="http://schemas.openxmlformats.org/drawingml/2006/table">
            <a:tbl>
              <a:tblPr firstRow="1" bandRow="1">
                <a:tableStyleId>{073A0DAA-6AF3-43AB-8588-CEC1D06C72B9}</a:tableStyleId>
              </a:tblPr>
              <a:tblGrid>
                <a:gridCol w="1464695"/>
                <a:gridCol w="1464695"/>
                <a:gridCol w="1464695"/>
              </a:tblGrid>
              <a:tr h="419650">
                <a:tc>
                  <a:txBody>
                    <a:bodyPr/>
                    <a:lstStyle/>
                    <a:p>
                      <a:r>
                        <a:rPr lang="en-US" dirty="0" smtClean="0"/>
                        <a:t>Country</a:t>
                      </a:r>
                      <a:endParaRPr lang="en-US" dirty="0"/>
                    </a:p>
                  </a:txBody>
                  <a:tcPr marL="68580" marR="68580"/>
                </a:tc>
                <a:tc>
                  <a:txBody>
                    <a:bodyPr/>
                    <a:lstStyle/>
                    <a:p>
                      <a:r>
                        <a:rPr lang="en-US" dirty="0" smtClean="0"/>
                        <a:t>Cases</a:t>
                      </a:r>
                      <a:endParaRPr lang="en-US" dirty="0"/>
                    </a:p>
                  </a:txBody>
                  <a:tcPr marL="68580" marR="68580"/>
                </a:tc>
                <a:tc>
                  <a:txBody>
                    <a:bodyPr/>
                    <a:lstStyle/>
                    <a:p>
                      <a:r>
                        <a:rPr lang="en-US" dirty="0" smtClean="0"/>
                        <a:t>Deaths (%)</a:t>
                      </a:r>
                      <a:endParaRPr lang="en-US" dirty="0"/>
                    </a:p>
                  </a:txBody>
                  <a:tcPr marL="68580" marR="68580"/>
                </a:tc>
              </a:tr>
              <a:tr h="425478">
                <a:tc>
                  <a:txBody>
                    <a:bodyPr/>
                    <a:lstStyle/>
                    <a:p>
                      <a:r>
                        <a:rPr lang="en-US" b="1" dirty="0" smtClean="0"/>
                        <a:t>Guinea</a:t>
                      </a:r>
                      <a:endParaRPr lang="en-US" b="1" dirty="0"/>
                    </a:p>
                  </a:txBody>
                  <a:tcPr marL="68580" marR="68580"/>
                </a:tc>
                <a:tc>
                  <a:txBody>
                    <a:bodyPr/>
                    <a:lstStyle/>
                    <a:p>
                      <a:pPr algn="ctr"/>
                      <a:r>
                        <a:rPr lang="en-US" dirty="0" smtClean="0"/>
                        <a:t>3804</a:t>
                      </a:r>
                      <a:endParaRPr lang="en-US" dirty="0"/>
                    </a:p>
                  </a:txBody>
                  <a:tcPr marL="68580" marR="68580"/>
                </a:tc>
                <a:tc>
                  <a:txBody>
                    <a:bodyPr/>
                    <a:lstStyle/>
                    <a:p>
                      <a:pPr algn="ctr"/>
                      <a:r>
                        <a:rPr lang="en-US" dirty="0" smtClean="0"/>
                        <a:t>2536 (66.7)</a:t>
                      </a:r>
                      <a:endParaRPr lang="en-US" dirty="0"/>
                    </a:p>
                  </a:txBody>
                  <a:tcPr marL="68580" marR="68580"/>
                </a:tc>
              </a:tr>
              <a:tr h="425478">
                <a:tc>
                  <a:txBody>
                    <a:bodyPr/>
                    <a:lstStyle/>
                    <a:p>
                      <a:r>
                        <a:rPr lang="en-US" b="1" dirty="0" smtClean="0"/>
                        <a:t>Liberia</a:t>
                      </a:r>
                      <a:endParaRPr lang="en-US" b="1" dirty="0"/>
                    </a:p>
                  </a:txBody>
                  <a:tcPr marL="68580" marR="68580"/>
                </a:tc>
                <a:tc>
                  <a:txBody>
                    <a:bodyPr/>
                    <a:lstStyle/>
                    <a:p>
                      <a:pPr algn="ctr"/>
                      <a:r>
                        <a:rPr lang="en-US" dirty="0" smtClean="0"/>
                        <a:t>10666</a:t>
                      </a:r>
                      <a:endParaRPr lang="en-US" dirty="0"/>
                    </a:p>
                  </a:txBody>
                  <a:tcPr marL="68580" marR="68580"/>
                </a:tc>
                <a:tc>
                  <a:txBody>
                    <a:bodyPr/>
                    <a:lstStyle/>
                    <a:p>
                      <a:pPr algn="ctr"/>
                      <a:r>
                        <a:rPr lang="en-US" dirty="0" smtClean="0"/>
                        <a:t>4806 (45.0)</a:t>
                      </a:r>
                    </a:p>
                  </a:txBody>
                  <a:tcPr marL="68580" marR="68580"/>
                </a:tc>
              </a:tr>
              <a:tr h="425478">
                <a:tc>
                  <a:txBody>
                    <a:bodyPr/>
                    <a:lstStyle/>
                    <a:p>
                      <a:r>
                        <a:rPr lang="en-US" b="1" dirty="0" smtClean="0"/>
                        <a:t>Sierra Leone</a:t>
                      </a:r>
                      <a:endParaRPr lang="en-US" b="1" dirty="0"/>
                    </a:p>
                  </a:txBody>
                  <a:tcPr marL="68580" marR="68580"/>
                </a:tc>
                <a:tc>
                  <a:txBody>
                    <a:bodyPr/>
                    <a:lstStyle/>
                    <a:p>
                      <a:pPr algn="ctr"/>
                      <a:r>
                        <a:rPr lang="en-US" dirty="0" smtClean="0"/>
                        <a:t>14124</a:t>
                      </a:r>
                      <a:endParaRPr lang="en-US" dirty="0"/>
                    </a:p>
                  </a:txBody>
                  <a:tcPr marL="68580" marR="68580"/>
                </a:tc>
                <a:tc>
                  <a:txBody>
                    <a:bodyPr/>
                    <a:lstStyle/>
                    <a:p>
                      <a:pPr algn="ctr"/>
                      <a:r>
                        <a:rPr lang="en-US" baseline="0" dirty="0" smtClean="0"/>
                        <a:t>3956 (28.0</a:t>
                      </a:r>
                      <a:r>
                        <a:rPr lang="en-US" dirty="0" smtClean="0"/>
                        <a:t>)</a:t>
                      </a:r>
                      <a:endParaRPr lang="en-US" dirty="0"/>
                    </a:p>
                  </a:txBody>
                  <a:tcPr marL="68580" marR="68580"/>
                </a:tc>
              </a:tr>
              <a:tr h="425478">
                <a:tc>
                  <a:txBody>
                    <a:bodyPr/>
                    <a:lstStyle/>
                    <a:p>
                      <a:r>
                        <a:rPr lang="en-US" b="1" dirty="0" smtClean="0"/>
                        <a:t>Nigeria</a:t>
                      </a:r>
                      <a:endParaRPr lang="en-US" b="1" dirty="0"/>
                    </a:p>
                  </a:txBody>
                  <a:tcPr marL="68580" marR="68580"/>
                </a:tc>
                <a:tc>
                  <a:txBody>
                    <a:bodyPr/>
                    <a:lstStyle/>
                    <a:p>
                      <a:pPr algn="ctr"/>
                      <a:r>
                        <a:rPr lang="en-US" dirty="0" smtClean="0"/>
                        <a:t>20</a:t>
                      </a:r>
                      <a:endParaRPr lang="en-US" dirty="0"/>
                    </a:p>
                  </a:txBody>
                  <a:tcPr marL="68580" marR="68580"/>
                </a:tc>
                <a:tc>
                  <a:txBody>
                    <a:bodyPr/>
                    <a:lstStyle/>
                    <a:p>
                      <a:pPr algn="ctr"/>
                      <a:r>
                        <a:rPr lang="en-US" baseline="0" dirty="0" smtClean="0"/>
                        <a:t>8 </a:t>
                      </a:r>
                      <a:r>
                        <a:rPr lang="en-US" dirty="0" smtClean="0"/>
                        <a:t>(40)</a:t>
                      </a:r>
                      <a:endParaRPr lang="en-US" dirty="0"/>
                    </a:p>
                  </a:txBody>
                  <a:tcPr marL="68580" marR="68580"/>
                </a:tc>
              </a:tr>
              <a:tr h="425478">
                <a:tc>
                  <a:txBody>
                    <a:bodyPr/>
                    <a:lstStyle/>
                    <a:p>
                      <a:r>
                        <a:rPr lang="en-US" b="1" dirty="0" smtClean="0"/>
                        <a:t>Senegal</a:t>
                      </a:r>
                      <a:endParaRPr lang="en-US" b="1" dirty="0"/>
                    </a:p>
                  </a:txBody>
                  <a:tcPr marL="68580" marR="68580"/>
                </a:tc>
                <a:tc>
                  <a:txBody>
                    <a:bodyPr/>
                    <a:lstStyle/>
                    <a:p>
                      <a:pPr algn="ctr"/>
                      <a:r>
                        <a:rPr lang="en-US" dirty="0" smtClean="0"/>
                        <a:t>1</a:t>
                      </a:r>
                      <a:endParaRPr lang="en-US" dirty="0"/>
                    </a:p>
                  </a:txBody>
                  <a:tcPr marL="68580" marR="68580"/>
                </a:tc>
                <a:tc>
                  <a:txBody>
                    <a:bodyPr/>
                    <a:lstStyle/>
                    <a:p>
                      <a:pPr algn="ctr"/>
                      <a:r>
                        <a:rPr lang="en-US" dirty="0" smtClean="0"/>
                        <a:t>0 (0)</a:t>
                      </a:r>
                      <a:endParaRPr lang="en-US" dirty="0"/>
                    </a:p>
                  </a:txBody>
                  <a:tcPr marL="68580" marR="68580"/>
                </a:tc>
              </a:tr>
              <a:tr h="425478">
                <a:tc>
                  <a:txBody>
                    <a:bodyPr/>
                    <a:lstStyle/>
                    <a:p>
                      <a:r>
                        <a:rPr lang="en-US" b="1" dirty="0" err="1" smtClean="0"/>
                        <a:t>Mali</a:t>
                      </a:r>
                      <a:endParaRPr lang="en-US" b="1" dirty="0"/>
                    </a:p>
                  </a:txBody>
                  <a:tcPr marL="68580" marR="68580"/>
                </a:tc>
                <a:tc>
                  <a:txBody>
                    <a:bodyPr/>
                    <a:lstStyle/>
                    <a:p>
                      <a:pPr algn="ctr"/>
                      <a:r>
                        <a:rPr lang="en-US" dirty="0" smtClean="0"/>
                        <a:t>8</a:t>
                      </a:r>
                      <a:endParaRPr lang="en-US" dirty="0"/>
                    </a:p>
                  </a:txBody>
                  <a:tcPr marL="68580" marR="68580"/>
                </a:tc>
                <a:tc>
                  <a:txBody>
                    <a:bodyPr/>
                    <a:lstStyle/>
                    <a:p>
                      <a:pPr algn="ctr"/>
                      <a:r>
                        <a:rPr lang="en-US" dirty="0" smtClean="0"/>
                        <a:t>6 (75)</a:t>
                      </a:r>
                      <a:endParaRPr lang="en-US" dirty="0"/>
                    </a:p>
                  </a:txBody>
                  <a:tcPr marL="68580" marR="68580"/>
                </a:tc>
              </a:tr>
              <a:tr h="425478">
                <a:tc>
                  <a:txBody>
                    <a:bodyPr/>
                    <a:lstStyle/>
                    <a:p>
                      <a:r>
                        <a:rPr lang="en-US" b="1" dirty="0" smtClean="0"/>
                        <a:t>Spain</a:t>
                      </a:r>
                      <a:endParaRPr lang="en-US" b="1" dirty="0"/>
                    </a:p>
                  </a:txBody>
                  <a:tcPr marL="68580" marR="68580"/>
                </a:tc>
                <a:tc>
                  <a:txBody>
                    <a:bodyPr/>
                    <a:lstStyle/>
                    <a:p>
                      <a:pPr algn="ctr"/>
                      <a:r>
                        <a:rPr lang="en-US" dirty="0" smtClean="0"/>
                        <a:t>1</a:t>
                      </a:r>
                      <a:endParaRPr lang="en-US" dirty="0"/>
                    </a:p>
                  </a:txBody>
                  <a:tcPr marL="68580" marR="68580"/>
                </a:tc>
                <a:tc>
                  <a:txBody>
                    <a:bodyPr/>
                    <a:lstStyle/>
                    <a:p>
                      <a:pPr algn="ctr"/>
                      <a:r>
                        <a:rPr lang="en-US" dirty="0" smtClean="0"/>
                        <a:t>0 (0)</a:t>
                      </a:r>
                      <a:endParaRPr lang="en-US" dirty="0"/>
                    </a:p>
                  </a:txBody>
                  <a:tcPr marL="68580" marR="68580"/>
                </a:tc>
              </a:tr>
              <a:tr h="425478">
                <a:tc>
                  <a:txBody>
                    <a:bodyPr/>
                    <a:lstStyle/>
                    <a:p>
                      <a:r>
                        <a:rPr lang="en-US" b="1" dirty="0" smtClean="0"/>
                        <a:t>USA</a:t>
                      </a:r>
                      <a:endParaRPr lang="en-US" b="1" dirty="0"/>
                    </a:p>
                  </a:txBody>
                  <a:tcPr marL="68580" marR="68580"/>
                </a:tc>
                <a:tc>
                  <a:txBody>
                    <a:bodyPr/>
                    <a:lstStyle/>
                    <a:p>
                      <a:pPr algn="ctr"/>
                      <a:r>
                        <a:rPr lang="en-US" dirty="0" smtClean="0"/>
                        <a:t>4</a:t>
                      </a:r>
                      <a:endParaRPr lang="en-US" dirty="0"/>
                    </a:p>
                  </a:txBody>
                  <a:tcPr marL="68580" marR="68580"/>
                </a:tc>
                <a:tc>
                  <a:txBody>
                    <a:bodyPr/>
                    <a:lstStyle/>
                    <a:p>
                      <a:pPr algn="ctr"/>
                      <a:r>
                        <a:rPr lang="en-US" dirty="0" smtClean="0"/>
                        <a:t>1 (25)</a:t>
                      </a:r>
                      <a:endParaRPr lang="en-US" dirty="0"/>
                    </a:p>
                  </a:txBody>
                  <a:tcPr marL="68580" marR="68580"/>
                </a:tc>
              </a:tr>
              <a:tr h="425478">
                <a:tc>
                  <a:txBody>
                    <a:bodyPr/>
                    <a:lstStyle/>
                    <a:p>
                      <a:r>
                        <a:rPr lang="en-US" b="1" dirty="0" smtClean="0"/>
                        <a:t>Total</a:t>
                      </a:r>
                      <a:endParaRPr lang="en-US" b="1" dirty="0"/>
                    </a:p>
                  </a:txBody>
                  <a:tcPr marL="68580" marR="68580"/>
                </a:tc>
                <a:tc>
                  <a:txBody>
                    <a:bodyPr/>
                    <a:lstStyle/>
                    <a:p>
                      <a:pPr algn="ctr"/>
                      <a:r>
                        <a:rPr lang="en-US" dirty="0" smtClean="0"/>
                        <a:t>28,603</a:t>
                      </a:r>
                      <a:endParaRPr lang="en-US" dirty="0"/>
                    </a:p>
                  </a:txBody>
                  <a:tcPr marL="68580" marR="68580"/>
                </a:tc>
                <a:tc>
                  <a:txBody>
                    <a:bodyPr/>
                    <a:lstStyle/>
                    <a:p>
                      <a:pPr algn="ctr"/>
                      <a:r>
                        <a:rPr lang="en-US" dirty="0" smtClean="0"/>
                        <a:t>11,301 (39.5)</a:t>
                      </a:r>
                      <a:endParaRPr lang="en-US" dirty="0"/>
                    </a:p>
                  </a:txBody>
                  <a:tcPr marL="68580" marR="68580"/>
                </a:tc>
              </a:tr>
            </a:tbl>
          </a:graphicData>
        </a:graphic>
      </p:graphicFrame>
      <p:pic>
        <p:nvPicPr>
          <p:cNvPr id="6" name="Picture 5"/>
          <p:cNvPicPr>
            <a:picLocks noChangeAspect="1"/>
          </p:cNvPicPr>
          <p:nvPr>
            <p:custDataLst>
              <p:tags r:id="rId5"/>
            </p:custDataLst>
          </p:nvPr>
        </p:nvPicPr>
        <p:blipFill>
          <a:blip r:embed="rId8">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a:ext>
            </a:extLst>
          </a:blip>
          <a:stretch>
            <a:fillRect/>
          </a:stretch>
        </p:blipFill>
        <p:spPr>
          <a:xfrm>
            <a:off x="4495800" y="1600200"/>
            <a:ext cx="4543621" cy="4969946"/>
          </a:xfrm>
          <a:prstGeom prst="rect">
            <a:avLst/>
          </a:prstGeom>
          <a:ln>
            <a:noFill/>
          </a:ln>
          <a:effectLst>
            <a:softEdge rad="112500"/>
          </a:effectLst>
        </p:spPr>
      </p:pic>
    </p:spTree>
    <p:extLst>
      <p:ext uri="{BB962C8B-B14F-4D97-AF65-F5344CB8AC3E}">
        <p14:creationId xmlns:p14="http://schemas.microsoft.com/office/powerpoint/2010/main" val="3457114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313" y="1828800"/>
            <a:ext cx="9144000"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04800" y="304800"/>
            <a:ext cx="8458200" cy="1754326"/>
          </a:xfrm>
          <a:prstGeom prst="rect">
            <a:avLst/>
          </a:prstGeom>
        </p:spPr>
        <p:txBody>
          <a:bodyPr wrap="square">
            <a:spAutoFit/>
          </a:bodyPr>
          <a:lstStyle/>
          <a:p>
            <a:pPr algn="ctr"/>
            <a:r>
              <a:rPr lang="en-US" sz="3600" dirty="0">
                <a:solidFill>
                  <a:prstClr val="white"/>
                </a:solidFill>
              </a:rPr>
              <a:t>Funding for CDC for Domestic TB  has been stagnant for the past 5 years (2010-2015) at $135 Million </a:t>
            </a:r>
          </a:p>
        </p:txBody>
      </p:sp>
    </p:spTree>
    <p:extLst>
      <p:ext uri="{BB962C8B-B14F-4D97-AF65-F5344CB8AC3E}">
        <p14:creationId xmlns:p14="http://schemas.microsoft.com/office/powerpoint/2010/main" val="36513773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s://yeupsac.files.wordpress.com/2015/08/denied-stamp.png?w=508&amp;h=251"/>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62400" y="304800"/>
            <a:ext cx="4762500" cy="23050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533400" y="2967335"/>
            <a:ext cx="8001000" cy="3046988"/>
          </a:xfrm>
          <a:prstGeom prst="rect">
            <a:avLst/>
          </a:prstGeom>
        </p:spPr>
        <p:txBody>
          <a:bodyPr wrap="square">
            <a:spAutoFit/>
          </a:bodyPr>
          <a:lstStyle/>
          <a:p>
            <a:pPr algn="ctr"/>
            <a:r>
              <a:rPr lang="en-US" sz="4800" dirty="0">
                <a:solidFill>
                  <a:prstClr val="black"/>
                </a:solidFill>
              </a:rPr>
              <a:t>Request for $243 Million (To meet the National TB Elimination Plan Goals) has been denied every year. </a:t>
            </a:r>
          </a:p>
        </p:txBody>
      </p:sp>
    </p:spTree>
    <p:extLst>
      <p:ext uri="{BB962C8B-B14F-4D97-AF65-F5344CB8AC3E}">
        <p14:creationId xmlns:p14="http://schemas.microsoft.com/office/powerpoint/2010/main" val="32656549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Rectangle 2"/>
          <p:cNvSpPr/>
          <p:nvPr/>
        </p:nvSpPr>
        <p:spPr>
          <a:xfrm>
            <a:off x="0" y="457200"/>
            <a:ext cx="9144000" cy="830997"/>
          </a:xfrm>
          <a:prstGeom prst="rect">
            <a:avLst/>
          </a:prstGeom>
          <a:solidFill>
            <a:srgbClr val="2F5897">
              <a:alpha val="78824"/>
            </a:srgbClr>
          </a:solidFill>
        </p:spPr>
        <p:txBody>
          <a:bodyPr wrap="square">
            <a:spAutoFit/>
          </a:bodyPr>
          <a:lstStyle/>
          <a:p>
            <a:pPr algn="ctr"/>
            <a:r>
              <a:rPr lang="en-US" sz="4800" dirty="0">
                <a:solidFill>
                  <a:prstClr val="white"/>
                </a:solidFill>
              </a:rPr>
              <a:t>US Response to Other Diseases</a:t>
            </a:r>
          </a:p>
        </p:txBody>
      </p:sp>
    </p:spTree>
    <p:extLst>
      <p:ext uri="{BB962C8B-B14F-4D97-AF65-F5344CB8AC3E}">
        <p14:creationId xmlns:p14="http://schemas.microsoft.com/office/powerpoint/2010/main" val="41698543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1000" y="1295400"/>
            <a:ext cx="3810000" cy="4524315"/>
          </a:xfrm>
          <a:prstGeom prst="rect">
            <a:avLst/>
          </a:prstGeom>
        </p:spPr>
        <p:txBody>
          <a:bodyPr wrap="square">
            <a:spAutoFit/>
          </a:bodyPr>
          <a:lstStyle/>
          <a:p>
            <a:r>
              <a:rPr lang="en-US" sz="3200" dirty="0">
                <a:solidFill>
                  <a:prstClr val="black"/>
                </a:solidFill>
              </a:rPr>
              <a:t>71 year old female with recurrent productive cough 7/2/15 abnormal CXR and CT scan that revealed RLL nodule (13mm) and Bilateral upper lobe infiltrates</a:t>
            </a:r>
          </a:p>
          <a:p>
            <a:r>
              <a:rPr lang="en-US" sz="3200" dirty="0">
                <a:solidFill>
                  <a:prstClr val="black"/>
                </a:solidFill>
              </a:rPr>
              <a:t>7/16/15</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02831" y="0"/>
            <a:ext cx="4541169" cy="6858000"/>
          </a:xfrm>
          <a:prstGeom prst="rect">
            <a:avLst/>
          </a:prstGeom>
        </p:spPr>
      </p:pic>
    </p:spTree>
    <p:extLst>
      <p:ext uri="{BB962C8B-B14F-4D97-AF65-F5344CB8AC3E}">
        <p14:creationId xmlns:p14="http://schemas.microsoft.com/office/powerpoint/2010/main" val="13417797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87857" y="0"/>
            <a:ext cx="4956143" cy="6858000"/>
          </a:xfrm>
          <a:prstGeom prst="rect">
            <a:avLst/>
          </a:prstGeom>
        </p:spPr>
      </p:pic>
      <p:sp>
        <p:nvSpPr>
          <p:cNvPr id="4" name="Rectangle 3"/>
          <p:cNvSpPr/>
          <p:nvPr/>
        </p:nvSpPr>
        <p:spPr>
          <a:xfrm>
            <a:off x="189931" y="1413063"/>
            <a:ext cx="3733800" cy="4031873"/>
          </a:xfrm>
          <a:prstGeom prst="rect">
            <a:avLst/>
          </a:prstGeom>
        </p:spPr>
        <p:txBody>
          <a:bodyPr wrap="square">
            <a:spAutoFit/>
          </a:bodyPr>
          <a:lstStyle/>
          <a:p>
            <a:r>
              <a:rPr lang="en-US" sz="3200" dirty="0">
                <a:solidFill>
                  <a:prstClr val="white"/>
                </a:solidFill>
              </a:rPr>
              <a:t>Ebola:</a:t>
            </a:r>
          </a:p>
          <a:p>
            <a:r>
              <a:rPr lang="en-US" sz="3200" dirty="0">
                <a:solidFill>
                  <a:prstClr val="white"/>
                </a:solidFill>
              </a:rPr>
              <a:t>2014     $2 Billion</a:t>
            </a:r>
          </a:p>
          <a:p>
            <a:r>
              <a:rPr lang="en-US" sz="3200" dirty="0">
                <a:solidFill>
                  <a:prstClr val="white"/>
                </a:solidFill>
              </a:rPr>
              <a:t>2015     $266 Million</a:t>
            </a:r>
          </a:p>
          <a:p>
            <a:r>
              <a:rPr lang="en-US" sz="3200" dirty="0">
                <a:solidFill>
                  <a:prstClr val="white"/>
                </a:solidFill>
              </a:rPr>
              <a:t>2016      $8.7 Million</a:t>
            </a:r>
          </a:p>
          <a:p>
            <a:endParaRPr lang="en-US" sz="3200" dirty="0" smtClean="0">
              <a:solidFill>
                <a:prstClr val="white"/>
              </a:solidFill>
            </a:endParaRPr>
          </a:p>
          <a:p>
            <a:r>
              <a:rPr lang="en-US" sz="3200" dirty="0" smtClean="0">
                <a:solidFill>
                  <a:prstClr val="white"/>
                </a:solidFill>
              </a:rPr>
              <a:t>Ebola </a:t>
            </a:r>
            <a:r>
              <a:rPr lang="en-US" sz="3200" dirty="0">
                <a:solidFill>
                  <a:prstClr val="white"/>
                </a:solidFill>
              </a:rPr>
              <a:t>cases/deaths/US</a:t>
            </a:r>
          </a:p>
          <a:p>
            <a:r>
              <a:rPr lang="en-US" sz="3200" dirty="0">
                <a:solidFill>
                  <a:prstClr val="white"/>
                </a:solidFill>
              </a:rPr>
              <a:t>4/1</a:t>
            </a:r>
          </a:p>
        </p:txBody>
      </p:sp>
    </p:spTree>
    <p:extLst>
      <p:ext uri="{BB962C8B-B14F-4D97-AF65-F5344CB8AC3E}">
        <p14:creationId xmlns:p14="http://schemas.microsoft.com/office/powerpoint/2010/main" val="18759133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9334"/>
            <a:ext cx="9144001" cy="6877334"/>
          </a:xfrm>
          <a:prstGeom prst="rect">
            <a:avLst/>
          </a:prstGeom>
        </p:spPr>
      </p:pic>
      <p:sp>
        <p:nvSpPr>
          <p:cNvPr id="3" name="Rectangle 2"/>
          <p:cNvSpPr/>
          <p:nvPr/>
        </p:nvSpPr>
        <p:spPr>
          <a:xfrm>
            <a:off x="0" y="5029200"/>
            <a:ext cx="9144000" cy="1446550"/>
          </a:xfrm>
          <a:prstGeom prst="rect">
            <a:avLst/>
          </a:prstGeom>
          <a:solidFill>
            <a:srgbClr val="00CC00">
              <a:alpha val="49804"/>
            </a:srgbClr>
          </a:solidFill>
        </p:spPr>
        <p:txBody>
          <a:bodyPr wrap="square">
            <a:spAutoFit/>
          </a:bodyPr>
          <a:lstStyle/>
          <a:p>
            <a:pPr algn="ctr"/>
            <a:r>
              <a:rPr lang="en-US" sz="4400" dirty="0" err="1">
                <a:solidFill>
                  <a:prstClr val="white"/>
                </a:solidFill>
              </a:rPr>
              <a:t>Zika</a:t>
            </a:r>
            <a:r>
              <a:rPr lang="en-US" sz="4400" dirty="0">
                <a:solidFill>
                  <a:prstClr val="white"/>
                </a:solidFill>
              </a:rPr>
              <a:t>   </a:t>
            </a:r>
            <a:r>
              <a:rPr lang="en-US" sz="4400" dirty="0" smtClean="0">
                <a:solidFill>
                  <a:prstClr val="white"/>
                </a:solidFill>
              </a:rPr>
              <a:t>2016     $</a:t>
            </a:r>
            <a:r>
              <a:rPr lang="en-US" sz="4400" dirty="0">
                <a:solidFill>
                  <a:prstClr val="white"/>
                </a:solidFill>
              </a:rPr>
              <a:t>1.8 Billion</a:t>
            </a:r>
          </a:p>
          <a:p>
            <a:pPr algn="ctr"/>
            <a:r>
              <a:rPr lang="en-US" sz="4400" dirty="0" smtClean="0">
                <a:solidFill>
                  <a:prstClr val="white"/>
                </a:solidFill>
              </a:rPr>
              <a:t>cases/deaths/US 273</a:t>
            </a:r>
            <a:r>
              <a:rPr lang="en-US" sz="4400" dirty="0">
                <a:solidFill>
                  <a:prstClr val="white"/>
                </a:solidFill>
              </a:rPr>
              <a:t>*/0</a:t>
            </a:r>
          </a:p>
        </p:txBody>
      </p:sp>
    </p:spTree>
    <p:extLst>
      <p:ext uri="{BB962C8B-B14F-4D97-AF65-F5344CB8AC3E}">
        <p14:creationId xmlns:p14="http://schemas.microsoft.com/office/powerpoint/2010/main" val="7923208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762"/>
            <a:ext cx="9144000" cy="6848475"/>
          </a:xfrm>
          <a:prstGeom prst="rect">
            <a:avLst/>
          </a:prstGeom>
        </p:spPr>
      </p:pic>
      <p:sp>
        <p:nvSpPr>
          <p:cNvPr id="3" name="TextBox 2"/>
          <p:cNvSpPr txBox="1"/>
          <p:nvPr/>
        </p:nvSpPr>
        <p:spPr>
          <a:xfrm>
            <a:off x="0" y="5594866"/>
            <a:ext cx="9144000" cy="707886"/>
          </a:xfrm>
          <a:prstGeom prst="rect">
            <a:avLst/>
          </a:prstGeom>
          <a:solidFill>
            <a:srgbClr val="686868"/>
          </a:solidFill>
        </p:spPr>
        <p:txBody>
          <a:bodyPr wrap="square" rtlCol="0">
            <a:spAutoFit/>
          </a:bodyPr>
          <a:lstStyle/>
          <a:p>
            <a:r>
              <a:rPr lang="en-US" sz="4000" dirty="0" smtClean="0">
                <a:solidFill>
                  <a:schemeClr val="bg1"/>
                </a:solidFill>
              </a:rPr>
              <a:t>Burden of Tuberculosis in the United States</a:t>
            </a:r>
            <a:endParaRPr lang="en-US" sz="4000" dirty="0">
              <a:solidFill>
                <a:schemeClr val="bg1"/>
              </a:solidFill>
            </a:endParaRPr>
          </a:p>
        </p:txBody>
      </p:sp>
    </p:spTree>
    <p:extLst>
      <p:ext uri="{BB962C8B-B14F-4D97-AF65-F5344CB8AC3E}">
        <p14:creationId xmlns:p14="http://schemas.microsoft.com/office/powerpoint/2010/main" val="2203860967"/>
      </p:ext>
    </p:extLst>
  </p:cSld>
  <p:clrMapOvr>
    <a:masterClrMapping/>
  </p:clrMapOvr>
  <mc:AlternateContent xmlns:mc="http://schemas.openxmlformats.org/markup-compatibility/2006" xmlns:p14="http://schemas.microsoft.com/office/powerpoint/2010/main">
    <mc:Choice Requires="p14">
      <p:transition spd="slow" p14:dur="2000" advTm="205"/>
    </mc:Choice>
    <mc:Fallback xmlns="">
      <p:transition spd="slow" advTm="205"/>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6156" y="-76200"/>
            <a:ext cx="8229600"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dirty="0" smtClean="0"/>
              <a:t>TB Morbidity</a:t>
            </a:r>
            <a:br>
              <a:rPr lang="en-US" dirty="0" smtClean="0"/>
            </a:br>
            <a:r>
              <a:rPr lang="en-US" sz="2200" dirty="0" smtClean="0"/>
              <a:t>United States, 2003-2015</a:t>
            </a:r>
            <a:endParaRPr lang="en-US" sz="2200" dirty="0"/>
          </a:p>
        </p:txBody>
      </p:sp>
      <p:graphicFrame>
        <p:nvGraphicFramePr>
          <p:cNvPr id="3" name="Content Placeholder 4"/>
          <p:cNvGraphicFramePr>
            <a:graphicFrameLocks/>
          </p:cNvGraphicFramePr>
          <p:nvPr>
            <p:extLst>
              <p:ext uri="{D42A27DB-BD31-4B8C-83A1-F6EECF244321}">
                <p14:modId xmlns:p14="http://schemas.microsoft.com/office/powerpoint/2010/main" val="2080989287"/>
              </p:ext>
            </p:extLst>
          </p:nvPr>
        </p:nvGraphicFramePr>
        <p:xfrm>
          <a:off x="488515" y="940105"/>
          <a:ext cx="7629525" cy="5578248"/>
        </p:xfrm>
        <a:graphic>
          <a:graphicData uri="http://schemas.openxmlformats.org/drawingml/2006/table">
            <a:tbl>
              <a:tblPr/>
              <a:tblGrid>
                <a:gridCol w="2143125"/>
                <a:gridCol w="2314575"/>
                <a:gridCol w="3171825"/>
              </a:tblGrid>
              <a:tr h="426751">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200" b="1" i="0" u="none" strike="noStrike" cap="none" normalizeH="0" baseline="0" dirty="0" smtClean="0">
                          <a:ln>
                            <a:noFill/>
                          </a:ln>
                          <a:solidFill>
                            <a:srgbClr val="000066"/>
                          </a:solidFill>
                          <a:effectLst/>
                          <a:latin typeface="Arial" pitchFamily="34" charset="0"/>
                        </a:rPr>
                        <a:t>Year</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200" b="1" i="0" u="none" strike="noStrike" cap="none" normalizeH="0" baseline="0" dirty="0" smtClean="0">
                          <a:ln>
                            <a:noFill/>
                          </a:ln>
                          <a:solidFill>
                            <a:srgbClr val="000066"/>
                          </a:solidFill>
                          <a:effectLst/>
                          <a:latin typeface="Arial" pitchFamily="34" charset="0"/>
                        </a:rPr>
                        <a:t>No. of Cas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200" b="1" i="0" u="none" strike="noStrike" cap="none" normalizeH="0" baseline="0" dirty="0" smtClean="0">
                          <a:ln>
                            <a:noFill/>
                          </a:ln>
                          <a:solidFill>
                            <a:srgbClr val="000066"/>
                          </a:solidFill>
                          <a:effectLst/>
                          <a:latin typeface="Arial" pitchFamily="34" charset="0"/>
                        </a:rPr>
                        <a:t>Rate (per 100,000)</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chemeClr val="accent1"/>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03</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4, 837</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5.1</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04</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4, 501</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4.9</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05</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4, 065</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4.7</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06</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3, 754</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4.6</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07</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3, 299</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4.4</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08</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2, 898</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4.2</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09</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1, 540</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3.8</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2010</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11, 181</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0" i="0" u="none" strike="noStrike" cap="none" normalizeH="0" baseline="0" dirty="0" smtClean="0">
                          <a:ln>
                            <a:noFill/>
                          </a:ln>
                          <a:solidFill>
                            <a:srgbClr val="006666"/>
                          </a:solidFill>
                          <a:effectLst/>
                          <a:latin typeface="Arial" pitchFamily="34" charset="0"/>
                        </a:rPr>
                        <a:t>3.6</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E8CB"/>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2011</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10, 521</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3.4</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2012</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9,951</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3.2</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2013</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9,588</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3.0</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2014</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 9,406*</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2.95</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r h="396269">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3030F8"/>
                          </a:solidFill>
                          <a:effectLst/>
                          <a:latin typeface="Arial" pitchFamily="34" charset="0"/>
                        </a:rPr>
                        <a:t>2015</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FF0000"/>
                          </a:solidFill>
                          <a:effectLst/>
                          <a:latin typeface="Arial" pitchFamily="34" charset="0"/>
                        </a:rPr>
                        <a:t>9,563</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150000"/>
                        <a:buFontTx/>
                        <a:buNone/>
                        <a:tabLst/>
                      </a:pPr>
                      <a:r>
                        <a:rPr kumimoji="0" lang="en-US" sz="2000" b="1" i="0" u="none" strike="noStrike" cap="none" normalizeH="0" baseline="0" dirty="0" smtClean="0">
                          <a:ln>
                            <a:noFill/>
                          </a:ln>
                          <a:solidFill>
                            <a:srgbClr val="FF0000"/>
                          </a:solidFill>
                          <a:effectLst/>
                          <a:latin typeface="Arial" pitchFamily="34" charset="0"/>
                        </a:rPr>
                        <a:t>3.0</a:t>
                      </a:r>
                      <a:r>
                        <a:rPr kumimoji="0" lang="en-US" sz="2000" b="1" i="0" u="none" strike="noStrike" cap="none" normalizeH="0" baseline="0" dirty="0" smtClean="0">
                          <a:ln>
                            <a:noFill/>
                          </a:ln>
                          <a:solidFill>
                            <a:srgbClr val="3030F8"/>
                          </a:solidFill>
                          <a:effectLst/>
                          <a:latin typeface="Arial" pitchFamily="34" charset="0"/>
                        </a:rPr>
                        <a:t>     </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4E7"/>
                    </a:solidFill>
                  </a:tcPr>
                </a:tc>
              </a:tr>
            </a:tbl>
          </a:graphicData>
        </a:graphic>
      </p:graphicFrame>
      <p:sp>
        <p:nvSpPr>
          <p:cNvPr id="4" name="AutoShape 8"/>
          <p:cNvSpPr>
            <a:spLocks/>
          </p:cNvSpPr>
          <p:nvPr/>
        </p:nvSpPr>
        <p:spPr bwMode="auto">
          <a:xfrm>
            <a:off x="6788727" y="5342386"/>
            <a:ext cx="212725" cy="660400"/>
          </a:xfrm>
          <a:prstGeom prst="rightBrace">
            <a:avLst>
              <a:gd name="adj1" fmla="val 32051"/>
              <a:gd name="adj2" fmla="val 50000"/>
            </a:avLst>
          </a:prstGeom>
          <a:noFill/>
          <a:ln w="28575">
            <a:solidFill>
              <a:srgbClr val="000066"/>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800" dirty="0">
              <a:solidFill>
                <a:srgbClr val="000066"/>
              </a:solidFill>
              <a:latin typeface="Calibri" pitchFamily="34" charset="0"/>
            </a:endParaRPr>
          </a:p>
        </p:txBody>
      </p:sp>
      <p:sp>
        <p:nvSpPr>
          <p:cNvPr id="5" name="TextBox 9"/>
          <p:cNvSpPr txBox="1">
            <a:spLocks noChangeArrowheads="1"/>
          </p:cNvSpPr>
          <p:nvPr/>
        </p:nvSpPr>
        <p:spPr bwMode="auto">
          <a:xfrm>
            <a:off x="6895089" y="5451306"/>
            <a:ext cx="1714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Arial" charset="0"/>
              </a:defRPr>
            </a:lvl1pPr>
            <a:lvl2pPr marL="742950" indent="-285750">
              <a:defRPr sz="3600">
                <a:solidFill>
                  <a:schemeClr val="tx1"/>
                </a:solidFill>
                <a:latin typeface="Arial" charset="0"/>
              </a:defRPr>
            </a:lvl2pPr>
            <a:lvl3pPr marL="1143000" indent="-228600">
              <a:defRPr sz="3600">
                <a:solidFill>
                  <a:schemeClr val="tx1"/>
                </a:solidFill>
                <a:latin typeface="Arial" charset="0"/>
              </a:defRPr>
            </a:lvl3pPr>
            <a:lvl4pPr marL="1600200" indent="-228600">
              <a:defRPr sz="3600">
                <a:solidFill>
                  <a:schemeClr val="tx1"/>
                </a:solidFill>
                <a:latin typeface="Arial" charset="0"/>
              </a:defRPr>
            </a:lvl4pPr>
            <a:lvl5pPr marL="2057400" indent="-228600">
              <a:defRPr sz="3600">
                <a:solidFill>
                  <a:schemeClr val="tx1"/>
                </a:solidFill>
                <a:latin typeface="Arial" charset="0"/>
              </a:defRPr>
            </a:lvl5pPr>
            <a:lvl6pPr marL="2514600" indent="-228600" algn="ctr" eaLnBrk="0" fontAlgn="base" hangingPunct="0">
              <a:spcBef>
                <a:spcPct val="0"/>
              </a:spcBef>
              <a:spcAft>
                <a:spcPct val="0"/>
              </a:spcAft>
              <a:defRPr sz="3600">
                <a:solidFill>
                  <a:schemeClr val="tx1"/>
                </a:solidFill>
                <a:latin typeface="Arial" charset="0"/>
              </a:defRPr>
            </a:lvl6pPr>
            <a:lvl7pPr marL="2971800" indent="-228600" algn="ctr" eaLnBrk="0" fontAlgn="base" hangingPunct="0">
              <a:spcBef>
                <a:spcPct val="0"/>
              </a:spcBef>
              <a:spcAft>
                <a:spcPct val="0"/>
              </a:spcAft>
              <a:defRPr sz="3600">
                <a:solidFill>
                  <a:schemeClr val="tx1"/>
                </a:solidFill>
                <a:latin typeface="Arial" charset="0"/>
              </a:defRPr>
            </a:lvl7pPr>
            <a:lvl8pPr marL="3429000" indent="-228600" algn="ctr" eaLnBrk="0" fontAlgn="base" hangingPunct="0">
              <a:spcBef>
                <a:spcPct val="0"/>
              </a:spcBef>
              <a:spcAft>
                <a:spcPct val="0"/>
              </a:spcAft>
              <a:defRPr sz="3600">
                <a:solidFill>
                  <a:schemeClr val="tx1"/>
                </a:solidFill>
                <a:latin typeface="Arial" charset="0"/>
              </a:defRPr>
            </a:lvl8pPr>
            <a:lvl9pPr marL="3886200" indent="-228600" algn="ctr" eaLnBrk="0" fontAlgn="base" hangingPunct="0">
              <a:spcBef>
                <a:spcPct val="0"/>
              </a:spcBef>
              <a:spcAft>
                <a:spcPct val="0"/>
              </a:spcAft>
              <a:defRPr sz="3600">
                <a:solidFill>
                  <a:schemeClr val="tx1"/>
                </a:solidFill>
                <a:latin typeface="Arial" charset="0"/>
              </a:defRPr>
            </a:lvl9pPr>
          </a:lstStyle>
          <a:p>
            <a:pPr algn="l" eaLnBrk="1" hangingPunct="1"/>
            <a:r>
              <a:rPr lang="en-US" sz="1800" b="1" i="1" dirty="0">
                <a:solidFill>
                  <a:srgbClr val="FF0000"/>
                </a:solidFill>
                <a:latin typeface="Calibri" pitchFamily="34" charset="0"/>
              </a:rPr>
              <a:t>2</a:t>
            </a:r>
            <a:r>
              <a:rPr lang="en-US" sz="1800" b="1" i="1" dirty="0" smtClean="0">
                <a:solidFill>
                  <a:srgbClr val="FF0000"/>
                </a:solidFill>
                <a:latin typeface="Calibri" pitchFamily="34" charset="0"/>
              </a:rPr>
              <a:t>.2% </a:t>
            </a:r>
            <a:r>
              <a:rPr lang="en-US" sz="1800" b="1" i="1" dirty="0">
                <a:solidFill>
                  <a:srgbClr val="FF0000"/>
                </a:solidFill>
                <a:latin typeface="Calibri" pitchFamily="34" charset="0"/>
              </a:rPr>
              <a:t>decline</a:t>
            </a:r>
          </a:p>
        </p:txBody>
      </p:sp>
      <p:sp>
        <p:nvSpPr>
          <p:cNvPr id="6" name="TextBox 6"/>
          <p:cNvSpPr txBox="1">
            <a:spLocks noChangeArrowheads="1"/>
          </p:cNvSpPr>
          <p:nvPr/>
        </p:nvSpPr>
        <p:spPr bwMode="auto">
          <a:xfrm>
            <a:off x="6081100" y="6452284"/>
            <a:ext cx="2047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Arial" charset="0"/>
              </a:defRPr>
            </a:lvl1pPr>
            <a:lvl2pPr marL="742950" indent="-285750">
              <a:defRPr sz="3600">
                <a:solidFill>
                  <a:schemeClr val="tx1"/>
                </a:solidFill>
                <a:latin typeface="Arial" charset="0"/>
              </a:defRPr>
            </a:lvl2pPr>
            <a:lvl3pPr marL="1143000" indent="-228600">
              <a:defRPr sz="3600">
                <a:solidFill>
                  <a:schemeClr val="tx1"/>
                </a:solidFill>
                <a:latin typeface="Arial" charset="0"/>
              </a:defRPr>
            </a:lvl3pPr>
            <a:lvl4pPr marL="1600200" indent="-228600">
              <a:defRPr sz="3600">
                <a:solidFill>
                  <a:schemeClr val="tx1"/>
                </a:solidFill>
                <a:latin typeface="Arial" charset="0"/>
              </a:defRPr>
            </a:lvl4pPr>
            <a:lvl5pPr marL="2057400" indent="-228600">
              <a:defRPr sz="3600">
                <a:solidFill>
                  <a:schemeClr val="tx1"/>
                </a:solidFill>
                <a:latin typeface="Arial" charset="0"/>
              </a:defRPr>
            </a:lvl5pPr>
            <a:lvl6pPr marL="2514600" indent="-228600" algn="ctr" eaLnBrk="0" fontAlgn="base" hangingPunct="0">
              <a:spcBef>
                <a:spcPct val="0"/>
              </a:spcBef>
              <a:spcAft>
                <a:spcPct val="0"/>
              </a:spcAft>
              <a:defRPr sz="3600">
                <a:solidFill>
                  <a:schemeClr val="tx1"/>
                </a:solidFill>
                <a:latin typeface="Arial" charset="0"/>
              </a:defRPr>
            </a:lvl6pPr>
            <a:lvl7pPr marL="2971800" indent="-228600" algn="ctr" eaLnBrk="0" fontAlgn="base" hangingPunct="0">
              <a:spcBef>
                <a:spcPct val="0"/>
              </a:spcBef>
              <a:spcAft>
                <a:spcPct val="0"/>
              </a:spcAft>
              <a:defRPr sz="3600">
                <a:solidFill>
                  <a:schemeClr val="tx1"/>
                </a:solidFill>
                <a:latin typeface="Arial" charset="0"/>
              </a:defRPr>
            </a:lvl7pPr>
            <a:lvl8pPr marL="3429000" indent="-228600" algn="ctr" eaLnBrk="0" fontAlgn="base" hangingPunct="0">
              <a:spcBef>
                <a:spcPct val="0"/>
              </a:spcBef>
              <a:spcAft>
                <a:spcPct val="0"/>
              </a:spcAft>
              <a:defRPr sz="3600">
                <a:solidFill>
                  <a:schemeClr val="tx1"/>
                </a:solidFill>
                <a:latin typeface="Arial" charset="0"/>
              </a:defRPr>
            </a:lvl8pPr>
            <a:lvl9pPr marL="3886200" indent="-228600" algn="ctr" eaLnBrk="0" fontAlgn="base" hangingPunct="0">
              <a:spcBef>
                <a:spcPct val="0"/>
              </a:spcBef>
              <a:spcAft>
                <a:spcPct val="0"/>
              </a:spcAft>
              <a:defRPr sz="3600">
                <a:solidFill>
                  <a:schemeClr val="tx1"/>
                </a:solidFill>
                <a:latin typeface="Arial" charset="0"/>
              </a:defRPr>
            </a:lvl9pPr>
          </a:lstStyle>
          <a:p>
            <a:pPr algn="l" eaLnBrk="1" hangingPunct="1"/>
            <a:r>
              <a:rPr lang="en-US" sz="1800" b="1" i="1" dirty="0" smtClean="0">
                <a:latin typeface="Calibri" pitchFamily="34" charset="0"/>
              </a:rPr>
              <a:t>*Lowest </a:t>
            </a:r>
            <a:r>
              <a:rPr lang="en-US" sz="1800" b="1" i="1" dirty="0">
                <a:latin typeface="Calibri" pitchFamily="34" charset="0"/>
              </a:rPr>
              <a:t>since 1953</a:t>
            </a:r>
          </a:p>
        </p:txBody>
      </p:sp>
      <p:sp>
        <p:nvSpPr>
          <p:cNvPr id="7" name="TextBox 6"/>
          <p:cNvSpPr txBox="1"/>
          <p:nvPr/>
        </p:nvSpPr>
        <p:spPr>
          <a:xfrm>
            <a:off x="6743669" y="6139934"/>
            <a:ext cx="1491755" cy="369332"/>
          </a:xfrm>
          <a:prstGeom prst="rect">
            <a:avLst/>
          </a:prstGeom>
          <a:noFill/>
        </p:spPr>
        <p:txBody>
          <a:bodyPr wrap="none" rtlCol="0">
            <a:spAutoFit/>
          </a:bodyPr>
          <a:lstStyle/>
          <a:p>
            <a:r>
              <a:rPr lang="en-US" b="1" dirty="0" smtClean="0">
                <a:solidFill>
                  <a:srgbClr val="FF0000"/>
                </a:solidFill>
              </a:rPr>
              <a:t>1.7% increase</a:t>
            </a:r>
            <a:endParaRPr lang="en-US" b="1" dirty="0">
              <a:solidFill>
                <a:srgbClr val="FF0000"/>
              </a:solidFill>
            </a:endParaRPr>
          </a:p>
        </p:txBody>
      </p:sp>
    </p:spTree>
    <p:extLst>
      <p:ext uri="{BB962C8B-B14F-4D97-AF65-F5344CB8AC3E}">
        <p14:creationId xmlns:p14="http://schemas.microsoft.com/office/powerpoint/2010/main" val="390081401"/>
      </p:ext>
    </p:extLst>
  </p:cSld>
  <p:clrMapOvr>
    <a:masterClrMapping/>
  </p:clrMapOvr>
  <mc:AlternateContent xmlns:mc="http://schemas.openxmlformats.org/markup-compatibility/2006" xmlns:p14="http://schemas.microsoft.com/office/powerpoint/2010/main">
    <mc:Choice Requires="p14">
      <p:transition spd="slow" p14:dur="2000" advTm="233"/>
    </mc:Choice>
    <mc:Fallback xmlns="">
      <p:transition spd="slow" advTm="233"/>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Arial" charset="0"/>
                <a:cs typeface="Arial" charset="0"/>
              </a:rPr>
              <a:t>Reported TB Cases </a:t>
            </a:r>
            <a:br>
              <a:rPr lang="en-US" dirty="0" smtClean="0">
                <a:latin typeface="Arial" charset="0"/>
                <a:cs typeface="Arial" charset="0"/>
              </a:rPr>
            </a:br>
            <a:r>
              <a:rPr lang="en-US" dirty="0" smtClean="0">
                <a:latin typeface="Arial" charset="0"/>
                <a:cs typeface="Arial" charset="0"/>
              </a:rPr>
              <a:t>United States, 1982–2015*</a:t>
            </a:r>
            <a:endParaRPr lang="en-US" dirty="0"/>
          </a:p>
        </p:txBody>
      </p:sp>
      <p:sp>
        <p:nvSpPr>
          <p:cNvPr id="4" name="Text Placeholder 3"/>
          <p:cNvSpPr>
            <a:spLocks noGrp="1"/>
          </p:cNvSpPr>
          <p:nvPr>
            <p:ph type="body" sz="quarter" idx="4294967295"/>
          </p:nvPr>
        </p:nvSpPr>
        <p:spPr>
          <a:xfrm>
            <a:off x="457200" y="6019800"/>
            <a:ext cx="6705600" cy="609600"/>
          </a:xfrm>
          <a:prstGeom prst="rect">
            <a:avLst/>
          </a:prstGeom>
        </p:spPr>
        <p:txBody>
          <a:bodyPr/>
          <a:lstStyle/>
          <a:p>
            <a:pPr>
              <a:buNone/>
            </a:pPr>
            <a:r>
              <a:rPr lang="en-US" sz="1100" dirty="0" smtClean="0">
                <a:solidFill>
                  <a:schemeClr val="tx2"/>
                </a:solidFill>
              </a:rPr>
              <a:t>*Updated as of March 25, 2016.</a:t>
            </a:r>
            <a:endParaRPr lang="en-US" sz="1100" dirty="0">
              <a:solidFill>
                <a:schemeClr val="tx2"/>
              </a:solidFill>
            </a:endParaRPr>
          </a:p>
        </p:txBody>
      </p:sp>
      <p:graphicFrame>
        <p:nvGraphicFramePr>
          <p:cNvPr id="6" name="Chart 5"/>
          <p:cNvGraphicFramePr/>
          <p:nvPr>
            <p:extLst>
              <p:ext uri="{D42A27DB-BD31-4B8C-83A1-F6EECF244321}">
                <p14:modId xmlns:p14="http://schemas.microsoft.com/office/powerpoint/2010/main" val="1861467025"/>
              </p:ext>
            </p:extLst>
          </p:nvPr>
        </p:nvGraphicFramePr>
        <p:xfrm>
          <a:off x="533400" y="1397000"/>
          <a:ext cx="7848600" cy="43942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152400" y="1752600"/>
            <a:ext cx="461665" cy="2862322"/>
          </a:xfrm>
          <a:prstGeom prst="rect">
            <a:avLst/>
          </a:prstGeom>
          <a:noFill/>
        </p:spPr>
        <p:txBody>
          <a:bodyPr vert="vert270" wrap="square" rtlCol="0">
            <a:spAutoFit/>
          </a:bodyPr>
          <a:lstStyle/>
          <a:p>
            <a:pPr algn="ctr"/>
            <a:r>
              <a:rPr lang="en-US" dirty="0" smtClean="0">
                <a:solidFill>
                  <a:schemeClr val="tx2"/>
                </a:solidFill>
              </a:rPr>
              <a:t>No. of Cases</a:t>
            </a:r>
            <a:endParaRPr lang="en-US" dirty="0">
              <a:solidFill>
                <a:schemeClr val="tx2"/>
              </a:solidFill>
            </a:endParaRPr>
          </a:p>
        </p:txBody>
      </p:sp>
      <p:sp>
        <p:nvSpPr>
          <p:cNvPr id="8" name="TextBox 7"/>
          <p:cNvSpPr txBox="1"/>
          <p:nvPr/>
        </p:nvSpPr>
        <p:spPr>
          <a:xfrm rot="5400000">
            <a:off x="4400729" y="4510206"/>
            <a:ext cx="461665" cy="2862322"/>
          </a:xfrm>
          <a:prstGeom prst="rect">
            <a:avLst/>
          </a:prstGeom>
          <a:noFill/>
        </p:spPr>
        <p:txBody>
          <a:bodyPr vert="vert270" wrap="square" rtlCol="0">
            <a:spAutoFit/>
          </a:bodyPr>
          <a:lstStyle/>
          <a:p>
            <a:pPr algn="ctr"/>
            <a:r>
              <a:rPr lang="en-US" dirty="0">
                <a:solidFill>
                  <a:schemeClr val="tx2"/>
                </a:solidFill>
              </a:rPr>
              <a:t>Year</a:t>
            </a:r>
          </a:p>
        </p:txBody>
      </p:sp>
    </p:spTree>
    <p:extLst>
      <p:ext uri="{BB962C8B-B14F-4D97-AF65-F5344CB8AC3E}">
        <p14:creationId xmlns:p14="http://schemas.microsoft.com/office/powerpoint/2010/main" val="409418336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74638"/>
            <a:ext cx="8229600"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dirty="0" smtClean="0"/>
              <a:t>TB Morbidity</a:t>
            </a:r>
            <a:br>
              <a:rPr lang="en-US" dirty="0" smtClean="0"/>
            </a:br>
            <a:r>
              <a:rPr lang="en-US" sz="2200" dirty="0" smtClean="0"/>
              <a:t>United States, 2002-2013</a:t>
            </a:r>
            <a:endParaRPr lang="en-US" sz="2200" dirty="0"/>
          </a:p>
        </p:txBody>
      </p:sp>
      <p:sp>
        <p:nvSpPr>
          <p:cNvPr id="3" name="Content Placeholder 2"/>
          <p:cNvSpPr txBox="1">
            <a:spLocks/>
          </p:cNvSpPr>
          <p:nvPr/>
        </p:nvSpPr>
        <p:spPr>
          <a:xfrm>
            <a:off x="190500" y="1676400"/>
            <a:ext cx="8724900" cy="5244513"/>
          </a:xfrm>
          <a:prstGeom prst="rect">
            <a:avLst/>
          </a:prstGeom>
        </p:spPr>
        <p:txBody>
          <a:bodyPr vert="horz" wrap="square" lIns="0" tIns="0" rIns="0" bIns="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96875" indent="-396875" defTabSz="912813"/>
            <a:r>
              <a:rPr lang="en-US" sz="2400" dirty="0" smtClean="0"/>
              <a:t>TB disproportionately affects foreign-born persons (13.4 </a:t>
            </a:r>
            <a:r>
              <a:rPr lang="en-US" sz="2400" dirty="0"/>
              <a:t>times higher than among U.S.-born </a:t>
            </a:r>
            <a:r>
              <a:rPr lang="en-US" sz="2400" dirty="0" smtClean="0"/>
              <a:t>persons)</a:t>
            </a:r>
            <a:r>
              <a:rPr lang="en-US" sz="2400" dirty="0"/>
              <a:t>,</a:t>
            </a:r>
            <a:r>
              <a:rPr lang="en-US" sz="2400" dirty="0" smtClean="0"/>
              <a:t> Asians, blacks, and people with HIV</a:t>
            </a:r>
          </a:p>
          <a:p>
            <a:r>
              <a:rPr lang="en-US" sz="2400" dirty="0" smtClean="0"/>
              <a:t>Compared with whites, </a:t>
            </a:r>
            <a:r>
              <a:rPr lang="en-US" sz="2400" b="1" dirty="0" smtClean="0">
                <a:solidFill>
                  <a:srgbClr val="FF0000"/>
                </a:solidFill>
              </a:rPr>
              <a:t>TB is 29 times higher for Asians</a:t>
            </a:r>
            <a:r>
              <a:rPr lang="en-US" sz="2400" dirty="0" smtClean="0"/>
              <a:t>, </a:t>
            </a:r>
            <a:r>
              <a:rPr lang="en-US" sz="2400" dirty="0"/>
              <a:t>8</a:t>
            </a:r>
            <a:r>
              <a:rPr lang="en-US" sz="2400" dirty="0" smtClean="0"/>
              <a:t> times higher for blacks and 8 times higher for Hispanics.</a:t>
            </a:r>
          </a:p>
          <a:p>
            <a:pPr marL="914400" lvl="1" indent="-396875" defTabSz="912813"/>
            <a:r>
              <a:rPr lang="en-US" sz="2400" dirty="0" smtClean="0"/>
              <a:t>More TB cases reported among Asians than any other racial/ethnic group in the US in 2014 </a:t>
            </a:r>
          </a:p>
          <a:p>
            <a:pPr marL="396875" indent="-396875" defTabSz="912813"/>
            <a:r>
              <a:rPr lang="en-US" sz="2400" dirty="0" smtClean="0"/>
              <a:t>Multidrug-resistant TB (MDR TB) cases accounted for 86 of all US TB cases in 2013 (1.2% of all cases)</a:t>
            </a:r>
          </a:p>
          <a:p>
            <a:pPr marL="914400" lvl="1" indent="-396875" defTabSz="912813"/>
            <a:r>
              <a:rPr lang="en-US" sz="2400" dirty="0" smtClean="0"/>
              <a:t>18 cases of extensively drug resistant (XDR TB) (2008-2013),   (2 cases in 2013; 2 in 2012; 5 cases in 2011) (&gt;90% FB)</a:t>
            </a:r>
          </a:p>
          <a:p>
            <a:pPr marL="396875" indent="-396875" defTabSz="912813"/>
            <a:r>
              <a:rPr lang="en-US" sz="2400" dirty="0" smtClean="0"/>
              <a:t>HIV status known for 85% of TB cases</a:t>
            </a:r>
          </a:p>
          <a:p>
            <a:pPr marL="914400" lvl="1" indent="-396875" defTabSz="912813"/>
            <a:r>
              <a:rPr lang="en-US" sz="2400" dirty="0" smtClean="0"/>
              <a:t>6.8 % co-infected with HIV</a:t>
            </a:r>
          </a:p>
        </p:txBody>
      </p:sp>
    </p:spTree>
    <p:custDataLst>
      <p:tags r:id="rId1"/>
    </p:custDataLst>
    <p:extLst>
      <p:ext uri="{BB962C8B-B14F-4D97-AF65-F5344CB8AC3E}">
        <p14:creationId xmlns:p14="http://schemas.microsoft.com/office/powerpoint/2010/main" val="3321284635"/>
      </p:ext>
    </p:extLst>
  </p:cSld>
  <p:clrMapOvr>
    <a:masterClrMapping/>
  </p:clrMapOvr>
  <mc:AlternateContent xmlns:mc="http://schemas.openxmlformats.org/markup-compatibility/2006" xmlns:p14="http://schemas.microsoft.com/office/powerpoint/2010/main">
    <mc:Choice Requires="p14">
      <p:transition spd="slow" p14:dur="2000" advTm="5962"/>
    </mc:Choice>
    <mc:Fallback xmlns="">
      <p:transition spd="slow" advTm="596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What are the “Hidden Stats” on TB</a:t>
            </a:r>
            <a:endParaRPr lang="en-US" dirty="0"/>
          </a:p>
        </p:txBody>
      </p:sp>
      <p:sp>
        <p:nvSpPr>
          <p:cNvPr id="3" name="Content Placeholder 2"/>
          <p:cNvSpPr>
            <a:spLocks noGrp="1"/>
          </p:cNvSpPr>
          <p:nvPr>
            <p:ph idx="1"/>
            <p:custDataLst>
              <p:tags r:id="rId2"/>
            </p:custDataLst>
          </p:nvPr>
        </p:nvSpPr>
        <p:spPr>
          <a:xfrm>
            <a:off x="457200" y="1600200"/>
            <a:ext cx="8229600" cy="5257800"/>
          </a:xfrm>
        </p:spPr>
        <p:txBody>
          <a:bodyPr>
            <a:normAutofit lnSpcReduction="10000"/>
          </a:bodyPr>
          <a:lstStyle/>
          <a:p>
            <a:r>
              <a:rPr lang="en-US" dirty="0" smtClean="0"/>
              <a:t>Active TB cases </a:t>
            </a:r>
            <a:r>
              <a:rPr lang="en-US" sz="4400" dirty="0" smtClean="0">
                <a:solidFill>
                  <a:srgbClr val="C00000"/>
                </a:solidFill>
              </a:rPr>
              <a:t>9,563</a:t>
            </a:r>
          </a:p>
          <a:p>
            <a:r>
              <a:rPr lang="en-US" dirty="0" smtClean="0"/>
              <a:t>Contact investigation* identifies average of </a:t>
            </a:r>
            <a:r>
              <a:rPr lang="en-US" sz="3600" dirty="0" smtClean="0"/>
              <a:t>17.9</a:t>
            </a:r>
            <a:r>
              <a:rPr lang="en-US" dirty="0" smtClean="0"/>
              <a:t> contacts/active case; 1% new active case identified; 20% LTBI; estimated over </a:t>
            </a:r>
            <a:r>
              <a:rPr lang="en-US" sz="4000" dirty="0" smtClean="0">
                <a:solidFill>
                  <a:srgbClr val="C00000"/>
                </a:solidFill>
              </a:rPr>
              <a:t>170,000</a:t>
            </a:r>
            <a:r>
              <a:rPr lang="en-US" dirty="0" smtClean="0"/>
              <a:t> individuals that need to be evaluated, tested and offered preventive treatment if infected.</a:t>
            </a:r>
          </a:p>
          <a:p>
            <a:r>
              <a:rPr lang="en-US" dirty="0" smtClean="0"/>
              <a:t>TB Infection (LTBI) Estimated </a:t>
            </a:r>
            <a:r>
              <a:rPr lang="en-US" b="1" dirty="0" smtClean="0">
                <a:solidFill>
                  <a:srgbClr val="C00000"/>
                </a:solidFill>
              </a:rPr>
              <a:t>&gt;</a:t>
            </a:r>
            <a:r>
              <a:rPr lang="en-US" sz="4000" dirty="0" smtClean="0">
                <a:solidFill>
                  <a:srgbClr val="C00000"/>
                </a:solidFill>
              </a:rPr>
              <a:t>13,000,000</a:t>
            </a:r>
            <a:r>
              <a:rPr lang="en-US" dirty="0" smtClean="0"/>
              <a:t> with </a:t>
            </a:r>
            <a:r>
              <a:rPr lang="en-US" u="sng" dirty="0" smtClean="0"/>
              <a:t>~ </a:t>
            </a:r>
            <a:r>
              <a:rPr lang="en-US" dirty="0" smtClean="0"/>
              <a:t> 10% risk of active TB in lifetime</a:t>
            </a:r>
          </a:p>
          <a:p>
            <a:pPr marL="0" indent="0">
              <a:buNone/>
            </a:pPr>
            <a:endParaRPr lang="en-US" sz="1400" dirty="0" smtClean="0"/>
          </a:p>
          <a:p>
            <a:pPr marL="0" indent="0">
              <a:buNone/>
            </a:pPr>
            <a:r>
              <a:rPr lang="en-US" sz="2000" dirty="0" smtClean="0"/>
              <a:t>                                                          		 </a:t>
            </a:r>
            <a:r>
              <a:rPr lang="en-US" sz="1200" dirty="0" smtClean="0"/>
              <a:t>*ARPE Report US, 2010 (CDC data 2/1/2015)</a:t>
            </a:r>
          </a:p>
          <a:p>
            <a:pPr marL="0" indent="0">
              <a:buNone/>
            </a:pPr>
            <a:endParaRPr lang="en-US" dirty="0"/>
          </a:p>
        </p:txBody>
      </p:sp>
    </p:spTree>
    <p:extLst>
      <p:ext uri="{BB962C8B-B14F-4D97-AF65-F5344CB8AC3E}">
        <p14:creationId xmlns:p14="http://schemas.microsoft.com/office/powerpoint/2010/main" val="1842812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Well </a:t>
            </a:r>
            <a:r>
              <a:rPr lang="en-US" dirty="0"/>
              <a:t>A</a:t>
            </a:r>
            <a:r>
              <a:rPr lang="en-US" dirty="0" smtClean="0"/>
              <a:t>re </a:t>
            </a:r>
            <a:r>
              <a:rPr lang="en-US" dirty="0"/>
              <a:t>W</a:t>
            </a:r>
            <a:r>
              <a:rPr lang="en-US" dirty="0" smtClean="0"/>
              <a:t>e </a:t>
            </a:r>
            <a:r>
              <a:rPr lang="en-US" dirty="0"/>
              <a:t>D</a:t>
            </a:r>
            <a:r>
              <a:rPr lang="en-US" dirty="0" smtClean="0"/>
              <a:t>oing with TB Contact Investigation?</a:t>
            </a:r>
            <a:endParaRPr lang="en-US" dirty="0"/>
          </a:p>
        </p:txBody>
      </p:sp>
      <p:sp>
        <p:nvSpPr>
          <p:cNvPr id="3" name="Content Placeholder 2"/>
          <p:cNvSpPr>
            <a:spLocks noGrp="1"/>
          </p:cNvSpPr>
          <p:nvPr>
            <p:ph idx="1"/>
          </p:nvPr>
        </p:nvSpPr>
        <p:spPr>
          <a:xfrm>
            <a:off x="0" y="1600200"/>
            <a:ext cx="9144000" cy="4525963"/>
          </a:xfrm>
        </p:spPr>
        <p:txBody>
          <a:bodyPr/>
          <a:lstStyle/>
          <a:p>
            <a:r>
              <a:rPr lang="en-US" dirty="0" smtClean="0"/>
              <a:t>2012 of the Close Contacts of Smear + Patients*</a:t>
            </a:r>
          </a:p>
          <a:p>
            <a:pPr lvl="1"/>
            <a:r>
              <a:rPr lang="en-US" dirty="0" smtClean="0"/>
              <a:t>82% were evaluated</a:t>
            </a:r>
          </a:p>
          <a:p>
            <a:pPr lvl="2"/>
            <a:r>
              <a:rPr lang="en-US" dirty="0" smtClean="0"/>
              <a:t>0.6% were found to have active TB</a:t>
            </a:r>
          </a:p>
          <a:p>
            <a:pPr lvl="2"/>
            <a:r>
              <a:rPr lang="en-US" dirty="0" smtClean="0"/>
              <a:t>18.9% had LTBI</a:t>
            </a:r>
          </a:p>
          <a:p>
            <a:pPr lvl="3"/>
            <a:r>
              <a:rPr lang="en-US" sz="2400" dirty="0" smtClean="0"/>
              <a:t>67% were started on LTBI treatment</a:t>
            </a:r>
          </a:p>
          <a:p>
            <a:pPr marL="1828800" lvl="4" indent="0">
              <a:buNone/>
            </a:pPr>
            <a:r>
              <a:rPr lang="en-US" sz="2400" dirty="0" smtClean="0"/>
              <a:t>44.6% completed treatment (</a:t>
            </a:r>
            <a:r>
              <a:rPr lang="en-US" sz="2400" b="1" dirty="0" smtClean="0">
                <a:solidFill>
                  <a:srgbClr val="FF0000"/>
                </a:solidFill>
              </a:rPr>
              <a:t>24.7% of high risk contacts</a:t>
            </a:r>
            <a:r>
              <a:rPr lang="en-US" sz="2400" dirty="0" smtClean="0"/>
              <a:t>)</a:t>
            </a:r>
          </a:p>
          <a:p>
            <a:pPr marL="1828800" lvl="4" indent="0">
              <a:buNone/>
            </a:pPr>
            <a:endParaRPr lang="en-US" sz="2400" dirty="0"/>
          </a:p>
          <a:p>
            <a:pPr marL="1828800" lvl="4" indent="0">
              <a:buNone/>
            </a:pPr>
            <a:r>
              <a:rPr lang="en-US" sz="1600" dirty="0" smtClean="0"/>
              <a:t>                                                                               *MMWR/Jan 1, 2016/Vol.64/Nos.50 &amp; 51</a:t>
            </a:r>
            <a:endParaRPr lang="en-US" sz="1600" dirty="0"/>
          </a:p>
        </p:txBody>
      </p:sp>
    </p:spTree>
    <p:extLst>
      <p:ext uri="{BB962C8B-B14F-4D97-AF65-F5344CB8AC3E}">
        <p14:creationId xmlns:p14="http://schemas.microsoft.com/office/powerpoint/2010/main" val="9030438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he figure above is a combination line graph and bar chart showing the number and rate of newly diagnosed tuberculosis (TB) cases among U.S.-born and foreign-born persons reported in the United States during 2000-2014. The 3,114 TB cases in U.S.-born per¬sons (representing 33.5% of all cases in persons with known national origin) indicated a 6.3% decrease in the number of cases compared with 2013 and a 64% decrease compared with 2000."/>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98585" y="1417638"/>
            <a:ext cx="8010525" cy="444817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0" y="274638"/>
            <a:ext cx="9067800" cy="1143000"/>
          </a:xfrm>
          <a:prstGeom prst="rect">
            <a:avLst/>
          </a:prstGeom>
        </p:spPr>
        <p:txBody>
          <a:bodyPr>
            <a:normAutofit fontScale="85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dirty="0" smtClean="0"/>
              <a:t>  TB Cases in US-born vs Non-US-born persons</a:t>
            </a:r>
            <a:br>
              <a:rPr lang="en-US" dirty="0" smtClean="0"/>
            </a:br>
            <a:r>
              <a:rPr lang="en-US" dirty="0" smtClean="0"/>
              <a:t>			</a:t>
            </a:r>
            <a:r>
              <a:rPr lang="en-US" sz="2200" dirty="0" smtClean="0"/>
              <a:t>United States, 2000-2014*</a:t>
            </a:r>
            <a:endParaRPr lang="en-US" sz="2200" dirty="0"/>
          </a:p>
        </p:txBody>
      </p:sp>
      <p:sp>
        <p:nvSpPr>
          <p:cNvPr id="4" name="Rectangle 6"/>
          <p:cNvSpPr>
            <a:spLocks noChangeArrowheads="1"/>
          </p:cNvSpPr>
          <p:nvPr/>
        </p:nvSpPr>
        <p:spPr bwMode="auto">
          <a:xfrm>
            <a:off x="4038600" y="6062003"/>
            <a:ext cx="4876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a:spAutoFit/>
          </a:bodyPr>
          <a:lstStyle/>
          <a:p>
            <a:r>
              <a:rPr lang="en-US" sz="1600" dirty="0"/>
              <a:t>*Updated March </a:t>
            </a:r>
            <a:r>
              <a:rPr lang="en-US" sz="1600" dirty="0" smtClean="0"/>
              <a:t>21, 2015 </a:t>
            </a:r>
            <a:r>
              <a:rPr lang="en-US" sz="1600" dirty="0"/>
              <a:t>with provisional </a:t>
            </a:r>
            <a:r>
              <a:rPr lang="en-US" sz="1600" dirty="0" smtClean="0"/>
              <a:t>2014 data </a:t>
            </a:r>
          </a:p>
          <a:p>
            <a:r>
              <a:rPr lang="en-US" sz="1600" b="1" dirty="0" smtClean="0">
                <a:solidFill>
                  <a:srgbClr val="FF0000"/>
                </a:solidFill>
              </a:rPr>
              <a:t>66.5% Foreign-born</a:t>
            </a:r>
            <a:endParaRPr lang="en-US" sz="1600" b="1" dirty="0">
              <a:solidFill>
                <a:srgbClr val="FF0000"/>
              </a:solidFill>
            </a:endParaRPr>
          </a:p>
        </p:txBody>
      </p:sp>
    </p:spTree>
    <p:extLst>
      <p:ext uri="{BB962C8B-B14F-4D97-AF65-F5344CB8AC3E}">
        <p14:creationId xmlns:p14="http://schemas.microsoft.com/office/powerpoint/2010/main" val="38311009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314" name="Rectangle 4"/>
          <p:cNvSpPr>
            <a:spLocks noGrp="1" noChangeArrowheads="1"/>
          </p:cNvSpPr>
          <p:nvPr>
            <p:ph type="title"/>
          </p:nvPr>
        </p:nvSpPr>
        <p:spPr/>
        <p:txBody>
          <a:bodyPr/>
          <a:lstStyle/>
          <a:p>
            <a:pPr eaLnBrk="1" hangingPunct="1"/>
            <a:endParaRPr lang="en-US" altLang="en-US" dirty="0" smtClean="0"/>
          </a:p>
        </p:txBody>
      </p:sp>
      <p:pic>
        <p:nvPicPr>
          <p:cNvPr id="13315" name="Picture 7" descr="BestFrontal"/>
          <p:cNvPicPr>
            <a:picLocks noGrp="1" noChangeAspect="1" noChangeArrowheads="1"/>
          </p:cNvPicPr>
          <p:nvPr>
            <p:ph sz="half" idx="1"/>
          </p:nvPr>
        </p:nvPicPr>
        <p:blipFill>
          <a:blip r:embed="rId3">
            <a:extLst>
              <a:ext uri="{28A0092B-C50C-407E-A947-70E740481C1C}">
                <a14:useLocalDpi xmlns:a14="http://schemas.microsoft.com/office/drawing/2010/main"/>
              </a:ext>
            </a:extLst>
          </a:blip>
          <a:stretch>
            <a:fillRect/>
          </a:stretch>
        </p:blipFill>
        <p:spPr>
          <a:xfrm>
            <a:off x="0" y="0"/>
            <a:ext cx="9144000" cy="684797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ustDataLst>
      <p:tags r:id="rId1"/>
    </p:custDataLst>
    <p:extLst>
      <p:ext uri="{BB962C8B-B14F-4D97-AF65-F5344CB8AC3E}">
        <p14:creationId xmlns:p14="http://schemas.microsoft.com/office/powerpoint/2010/main" val="15753386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175920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234122" y="381000"/>
            <a:ext cx="6931025" cy="443198"/>
          </a:xfrm>
        </p:spPr>
        <p:txBody>
          <a:bodyPr/>
          <a:lstStyle/>
          <a:p>
            <a:r>
              <a:rPr lang="en-US" dirty="0" smtClean="0">
                <a:latin typeface="Roboto" panose="02000000000000000000" pitchFamily="2" charset="0"/>
                <a:ea typeface="Roboto" panose="02000000000000000000" pitchFamily="2" charset="0"/>
                <a:cs typeface="Roboto" panose="02000000000000000000" pitchFamily="2" charset="0"/>
              </a:rPr>
              <a:t>Following a Mobile Patient: 2015-2016</a:t>
            </a: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p:cNvSpPr/>
          <p:nvPr/>
        </p:nvSpPr>
        <p:spPr>
          <a:xfrm flipH="1">
            <a:off x="5336222" y="1447800"/>
            <a:ext cx="3502977" cy="731520"/>
          </a:xfrm>
          <a:prstGeom prst="rect">
            <a:avLst/>
          </a:prstGeom>
          <a:solidFill>
            <a:srgbClr val="F2F2F2">
              <a:alpha val="0"/>
            </a:srgb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r>
              <a:rPr lang="en-US" sz="1200" dirty="0">
                <a:solidFill>
                  <a:srgbClr val="000000"/>
                </a:solidFill>
                <a:latin typeface="Roboto" panose="02000000000000000000" pitchFamily="2" charset="0"/>
                <a:ea typeface="Roboto" panose="02000000000000000000" pitchFamily="2" charset="0"/>
                <a:cs typeface="Roboto" panose="02000000000000000000" pitchFamily="2" charset="0"/>
              </a:rPr>
              <a:t>Patient left US to visit family in Europe to return to US on August 11, 2015 </a:t>
            </a:r>
            <a:endParaRPr lang="en-US" sz="1200" dirty="0">
              <a:solidFill>
                <a:prstClr val="black"/>
              </a:solidFill>
              <a:latin typeface="Roboto" panose="02000000000000000000" pitchFamily="2" charset="0"/>
              <a:ea typeface="Roboto" panose="02000000000000000000" pitchFamily="2" charset="0"/>
              <a:cs typeface="Roboto" panose="02000000000000000000" pitchFamily="2" charset="0"/>
            </a:endParaRPr>
          </a:p>
        </p:txBody>
      </p:sp>
      <p:sp>
        <p:nvSpPr>
          <p:cNvPr id="15" name="Rectangle 14"/>
          <p:cNvSpPr/>
          <p:nvPr/>
        </p:nvSpPr>
        <p:spPr>
          <a:xfrm>
            <a:off x="304800" y="944880"/>
            <a:ext cx="3502978" cy="731520"/>
          </a:xfrm>
          <a:prstGeom prst="rect">
            <a:avLst/>
          </a:prstGeom>
          <a:solidFill>
            <a:srgbClr val="F2F2F2">
              <a:alpha val="0"/>
            </a:srgbClr>
          </a:solidFill>
          <a:ln>
            <a:noFill/>
          </a:ln>
        </p:spPr>
        <p:style>
          <a:lnRef idx="1">
            <a:schemeClr val="dk1"/>
          </a:lnRef>
          <a:fillRef idx="0">
            <a:schemeClr val="dk1"/>
          </a:fillRef>
          <a:effectRef idx="0">
            <a:schemeClr val="dk1"/>
          </a:effectRef>
          <a:fontRef idx="minor">
            <a:schemeClr val="tx1"/>
          </a:fontRef>
        </p:style>
        <p:txBody>
          <a:bodyPr vert="horz" wrap="square" lIns="91440" tIns="45720" rIns="91440" bIns="45720" rtlCol="0" anchor="ctr">
            <a:noAutofit/>
          </a:bodyPr>
          <a:lstStyle/>
          <a:p>
            <a:pPr algn="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Bronchoscopy with biopsies revealed no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cancer cells</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 AFB negative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smear. Felt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to be “inflammatory process”</a:t>
            </a:r>
          </a:p>
        </p:txBody>
      </p:sp>
      <p:sp>
        <p:nvSpPr>
          <p:cNvPr id="23" name="Rectangle 22"/>
          <p:cNvSpPr/>
          <p:nvPr/>
        </p:nvSpPr>
        <p:spPr>
          <a:xfrm>
            <a:off x="304800" y="2037258"/>
            <a:ext cx="3502978" cy="731520"/>
          </a:xfrm>
          <a:prstGeom prst="rect">
            <a:avLst/>
          </a:prstGeom>
          <a:solidFill>
            <a:srgbClr val="F2F2F2">
              <a:alpha val="0"/>
            </a:srgb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pPr algn="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AFB seen on enrichment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broth</a:t>
            </a:r>
            <a:endParaRPr lang="en-US" sz="1200" dirty="0">
              <a:solidFill>
                <a:prstClr val="black"/>
              </a:solidFill>
              <a:latin typeface="Roboto" panose="02000000000000000000" pitchFamily="2" charset="0"/>
              <a:ea typeface="Roboto" panose="02000000000000000000" pitchFamily="2" charset="0"/>
              <a:cs typeface="Roboto" panose="02000000000000000000" pitchFamily="2" charset="0"/>
            </a:endParaRPr>
          </a:p>
        </p:txBody>
      </p:sp>
      <p:sp>
        <p:nvSpPr>
          <p:cNvPr id="26" name="Rectangle 25"/>
          <p:cNvSpPr/>
          <p:nvPr/>
        </p:nvSpPr>
        <p:spPr>
          <a:xfrm flipH="1">
            <a:off x="5336223" y="2545080"/>
            <a:ext cx="3502976" cy="731520"/>
          </a:xfrm>
          <a:prstGeom prst="rect">
            <a:avLst/>
          </a:prstGeom>
          <a:solidFill>
            <a:schemeClr val="bg1">
              <a:lumMod val="95000"/>
            </a:scheme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DNA probe positive for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MTB. Patient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placed on DNB (Do not Board) list by CDC Global Migration/Quarantine</a:t>
            </a:r>
          </a:p>
        </p:txBody>
      </p:sp>
      <p:sp>
        <p:nvSpPr>
          <p:cNvPr id="24" name="Rectangle 23"/>
          <p:cNvSpPr/>
          <p:nvPr/>
        </p:nvSpPr>
        <p:spPr>
          <a:xfrm>
            <a:off x="304800" y="3078480"/>
            <a:ext cx="3502978" cy="731520"/>
          </a:xfrm>
          <a:prstGeom prst="rect">
            <a:avLst/>
          </a:prstGeom>
          <a:solidFill>
            <a:schemeClr val="bg1">
              <a:lumMod val="95000"/>
            </a:scheme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Health Network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notified by LA Quarantine Station and contacted by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patient’s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son to enroll patient and find TB clinic in Europe</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 Consent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form received, medical records received from patient’s hospital</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 TB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clinic found in Europe, </a:t>
            </a:r>
            <a:r>
              <a:rPr lang="en-US" sz="1200" dirty="0" err="1">
                <a:solidFill>
                  <a:prstClr val="black"/>
                </a:solidFill>
                <a:latin typeface="Roboto" panose="02000000000000000000" pitchFamily="2" charset="0"/>
                <a:ea typeface="Roboto" panose="02000000000000000000" pitchFamily="2" charset="0"/>
                <a:cs typeface="Roboto" panose="02000000000000000000" pitchFamily="2" charset="0"/>
              </a:rPr>
              <a:t>appt</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 made for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8/13/15.  Medical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records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sent.</a:t>
            </a:r>
            <a:endParaRPr lang="en-US" sz="1200" dirty="0">
              <a:solidFill>
                <a:prstClr val="black"/>
              </a:solidFill>
              <a:latin typeface="Roboto" panose="02000000000000000000" pitchFamily="2" charset="0"/>
              <a:ea typeface="Roboto" panose="02000000000000000000" pitchFamily="2" charset="0"/>
              <a:cs typeface="Roboto" panose="02000000000000000000" pitchFamily="2" charset="0"/>
            </a:endParaRPr>
          </a:p>
        </p:txBody>
      </p:sp>
      <p:sp>
        <p:nvSpPr>
          <p:cNvPr id="27" name="Rectangle 26"/>
          <p:cNvSpPr/>
          <p:nvPr/>
        </p:nvSpPr>
        <p:spPr>
          <a:xfrm flipH="1">
            <a:off x="5336223" y="3611880"/>
            <a:ext cx="3502976" cy="731520"/>
          </a:xfrm>
          <a:prstGeom prst="rect">
            <a:avLst/>
          </a:prstGeom>
          <a:solidFill>
            <a:schemeClr val="bg1">
              <a:lumMod val="95000"/>
            </a:scheme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Patient kept appt. at TB clinic, medical records reviewed by clinician and patient started on RIPE that day</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 Three </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early morning sputum samples requested</a:t>
            </a:r>
          </a:p>
        </p:txBody>
      </p:sp>
      <p:sp>
        <p:nvSpPr>
          <p:cNvPr id="25" name="Rectangle 24"/>
          <p:cNvSpPr/>
          <p:nvPr/>
        </p:nvSpPr>
        <p:spPr>
          <a:xfrm>
            <a:off x="152400" y="3971417"/>
            <a:ext cx="3655378" cy="1210183"/>
          </a:xfrm>
          <a:prstGeom prst="rect">
            <a:avLst/>
          </a:prstGeom>
          <a:solidFill>
            <a:schemeClr val="bg1">
              <a:lumMod val="95000"/>
            </a:scheme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pPr algn="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Sensitivities revealed “low level INH resistance” Do not need to adjust treatment</a:t>
            </a:r>
          </a:p>
        </p:txBody>
      </p:sp>
      <p:sp>
        <p:nvSpPr>
          <p:cNvPr id="28" name="Rectangle 27"/>
          <p:cNvSpPr/>
          <p:nvPr/>
        </p:nvSpPr>
        <p:spPr>
          <a:xfrm flipH="1">
            <a:off x="5336223" y="4754880"/>
            <a:ext cx="3502976" cy="731520"/>
          </a:xfrm>
          <a:prstGeom prst="rect">
            <a:avLst/>
          </a:prstGeom>
          <a:solidFill>
            <a:schemeClr val="bg1">
              <a:lumMod val="95000"/>
            </a:scheme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Airline “Fee waiver letter” sent by CDC Global Migration/Quarantine so that patient would not have to pay to rebook flight. All three smears were negative for AFB. Patient removed from DNB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list</a:t>
            </a: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a:t>
            </a:r>
          </a:p>
        </p:txBody>
      </p:sp>
      <p:sp>
        <p:nvSpPr>
          <p:cNvPr id="36" name="Rectangle 35"/>
          <p:cNvSpPr/>
          <p:nvPr/>
        </p:nvSpPr>
        <p:spPr>
          <a:xfrm flipH="1">
            <a:off x="5336222" y="5974080"/>
            <a:ext cx="3350577" cy="731520"/>
          </a:xfrm>
          <a:prstGeom prst="rect">
            <a:avLst/>
          </a:prstGeom>
          <a:solidFill>
            <a:schemeClr val="bg1">
              <a:lumMod val="95000"/>
            </a:scheme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Patient completed her 6 month treatment for TB without difficulty</a:t>
            </a:r>
          </a:p>
        </p:txBody>
      </p:sp>
      <p:sp>
        <p:nvSpPr>
          <p:cNvPr id="43" name="Rectangle 42"/>
          <p:cNvSpPr/>
          <p:nvPr/>
        </p:nvSpPr>
        <p:spPr>
          <a:xfrm>
            <a:off x="304800" y="5364480"/>
            <a:ext cx="3502978" cy="731520"/>
          </a:xfrm>
          <a:prstGeom prst="rect">
            <a:avLst/>
          </a:prstGeom>
          <a:solidFill>
            <a:schemeClr val="bg1">
              <a:lumMod val="95000"/>
            </a:schemeClr>
          </a:solidFill>
          <a:ln>
            <a:noFill/>
          </a:ln>
        </p:spPr>
        <p:style>
          <a:lnRef idx="1">
            <a:schemeClr val="dk1"/>
          </a:lnRef>
          <a:fillRef idx="0">
            <a:schemeClr val="dk1"/>
          </a:fillRef>
          <a:effectRef idx="0">
            <a:schemeClr val="dk1"/>
          </a:effectRef>
          <a:fontRef idx="minor">
            <a:schemeClr val="tx1"/>
          </a:fontRef>
        </p:style>
        <p:txBody>
          <a:bodyPr vert="horz" lIns="91440" tIns="45720" rIns="91440" bIns="45720" rtlCol="0" anchor="ctr">
            <a:noAutofit/>
          </a:bodyPr>
          <a:lstStyle/>
          <a:p>
            <a:pPr algn="r"/>
            <a:r>
              <a:rPr lang="en-US" sz="1200" dirty="0">
                <a:solidFill>
                  <a:prstClr val="black"/>
                </a:solidFill>
                <a:latin typeface="Roboto" panose="02000000000000000000" pitchFamily="2" charset="0"/>
                <a:ea typeface="Roboto" panose="02000000000000000000" pitchFamily="2" charset="0"/>
                <a:cs typeface="Roboto" panose="02000000000000000000" pitchFamily="2" charset="0"/>
              </a:rPr>
              <a:t>Patient flew back home to resume treatment on August 21, </a:t>
            </a:r>
            <a:r>
              <a:rPr lang="en-US" sz="1200" dirty="0" smtClean="0">
                <a:solidFill>
                  <a:prstClr val="black"/>
                </a:solidFill>
                <a:latin typeface="Roboto" panose="02000000000000000000" pitchFamily="2" charset="0"/>
                <a:ea typeface="Roboto" panose="02000000000000000000" pitchFamily="2" charset="0"/>
                <a:cs typeface="Roboto" panose="02000000000000000000" pitchFamily="2" charset="0"/>
              </a:rPr>
              <a:t>2015 </a:t>
            </a:r>
            <a:endParaRPr lang="en-US" sz="1200" dirty="0">
              <a:solidFill>
                <a:prstClr val="black"/>
              </a:solidFill>
              <a:latin typeface="Roboto" panose="02000000000000000000" pitchFamily="2" charset="0"/>
              <a:ea typeface="Roboto" panose="02000000000000000000" pitchFamily="2" charset="0"/>
              <a:cs typeface="Roboto" panose="02000000000000000000" pitchFamily="2" charset="0"/>
            </a:endParaRPr>
          </a:p>
        </p:txBody>
      </p:sp>
      <p:sp>
        <p:nvSpPr>
          <p:cNvPr id="12" name="Oval 11"/>
          <p:cNvSpPr/>
          <p:nvPr/>
        </p:nvSpPr>
        <p:spPr>
          <a:xfrm>
            <a:off x="4819650" y="157873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7/22</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8" name="Oval 7"/>
          <p:cNvSpPr/>
          <p:nvPr/>
        </p:nvSpPr>
        <p:spPr>
          <a:xfrm>
            <a:off x="3867150" y="107581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7/15</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17" name="Oval 16"/>
          <p:cNvSpPr/>
          <p:nvPr/>
        </p:nvSpPr>
        <p:spPr>
          <a:xfrm>
            <a:off x="3867150" y="2168195"/>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8/3</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18" name="Oval 17"/>
          <p:cNvSpPr/>
          <p:nvPr/>
        </p:nvSpPr>
        <p:spPr>
          <a:xfrm>
            <a:off x="4819650" y="267601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8/6</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19" name="Oval 18"/>
          <p:cNvSpPr/>
          <p:nvPr/>
        </p:nvSpPr>
        <p:spPr>
          <a:xfrm>
            <a:off x="3867150" y="320941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8/12</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20" name="Oval 19"/>
          <p:cNvSpPr/>
          <p:nvPr/>
        </p:nvSpPr>
        <p:spPr>
          <a:xfrm>
            <a:off x="4819650" y="374281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8/13</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21" name="Oval 20"/>
          <p:cNvSpPr/>
          <p:nvPr/>
        </p:nvSpPr>
        <p:spPr>
          <a:xfrm>
            <a:off x="3867150" y="427621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a:solidFill>
                  <a:srgbClr val="FFFFFF"/>
                </a:solidFill>
                <a:latin typeface="Roboto" panose="02000000000000000000" pitchFamily="2" charset="0"/>
                <a:ea typeface="Roboto" panose="02000000000000000000" pitchFamily="2" charset="0"/>
                <a:cs typeface="Roboto" panose="02000000000000000000" pitchFamily="2" charset="0"/>
              </a:rPr>
              <a:t>8</a:t>
            </a: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17</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22" name="Oval 21"/>
          <p:cNvSpPr/>
          <p:nvPr/>
        </p:nvSpPr>
        <p:spPr>
          <a:xfrm>
            <a:off x="4790114" y="4876800"/>
            <a:ext cx="486736" cy="48768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8/19</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33" name="Oval 32"/>
          <p:cNvSpPr/>
          <p:nvPr/>
        </p:nvSpPr>
        <p:spPr>
          <a:xfrm>
            <a:off x="3867150" y="549541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8/20</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
        <p:nvSpPr>
          <p:cNvPr id="34" name="Oval 33"/>
          <p:cNvSpPr/>
          <p:nvPr/>
        </p:nvSpPr>
        <p:spPr>
          <a:xfrm>
            <a:off x="4819650" y="6105017"/>
            <a:ext cx="457200" cy="457200"/>
          </a:xfrm>
          <a:prstGeom prst="ellipse">
            <a:avLst/>
          </a:prstGeom>
          <a:solidFill>
            <a:schemeClr val="tx1">
              <a:lumMod val="50000"/>
              <a:lumOff val="50000"/>
            </a:schemeClr>
          </a:solidFill>
          <a:ln w="31750">
            <a:noFill/>
          </a:ln>
        </p:spPr>
        <p:style>
          <a:lnRef idx="1">
            <a:schemeClr val="dk1"/>
          </a:lnRef>
          <a:fillRef idx="0">
            <a:schemeClr val="dk1"/>
          </a:fillRef>
          <a:effectRef idx="0">
            <a:schemeClr val="dk1"/>
          </a:effectRef>
          <a:fontRef idx="minor">
            <a:schemeClr val="tx1"/>
          </a:fontRef>
        </p:style>
        <p:txBody>
          <a:bodyPr wrap="none" lIns="0" tIns="0" rIns="0" bIns="0" rtlCol="0" anchor="ctr"/>
          <a:lstStyle/>
          <a:p>
            <a:pPr algn="ctr"/>
            <a:r>
              <a:rPr lang="en-US" sz="1200" dirty="0" smtClean="0">
                <a:solidFill>
                  <a:srgbClr val="FFFFFF"/>
                </a:solidFill>
                <a:latin typeface="Roboto" panose="02000000000000000000" pitchFamily="2" charset="0"/>
                <a:ea typeface="Roboto" panose="02000000000000000000" pitchFamily="2" charset="0"/>
                <a:cs typeface="Roboto" panose="02000000000000000000" pitchFamily="2" charset="0"/>
              </a:rPr>
              <a:t>2/19</a:t>
            </a:r>
            <a:endParaRPr lang="en-US" sz="12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cxnSp>
        <p:nvCxnSpPr>
          <p:cNvPr id="5" name="Straight Connector 4"/>
          <p:cNvCxnSpPr/>
          <p:nvPr/>
        </p:nvCxnSpPr>
        <p:spPr>
          <a:xfrm flipV="1">
            <a:off x="4572000" y="1046290"/>
            <a:ext cx="0" cy="5580062"/>
          </a:xfrm>
          <a:prstGeom prst="line">
            <a:avLst/>
          </a:prstGeom>
          <a:ln w="25400">
            <a:solidFill>
              <a:schemeClr val="bg1">
                <a:lumMod val="75000"/>
              </a:schemeClr>
            </a:solidFill>
            <a:prstDash val="solid"/>
            <a:headEnd type="diamond" w="lg" len="lg"/>
            <a:tailEnd type="diamond" w="lg" len="lg"/>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308475" y="1304417"/>
            <a:ext cx="274320" cy="0"/>
          </a:xfrm>
          <a:prstGeom prst="line">
            <a:avLst/>
          </a:prstGeom>
          <a:ln w="15875">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4562475" y="1807337"/>
            <a:ext cx="274320" cy="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308475" y="2396795"/>
            <a:ext cx="274320" cy="0"/>
          </a:xfrm>
          <a:prstGeom prst="line">
            <a:avLst/>
          </a:prstGeom>
          <a:ln w="15875">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308475" y="3438017"/>
            <a:ext cx="274320" cy="0"/>
          </a:xfrm>
          <a:prstGeom prst="line">
            <a:avLst/>
          </a:prstGeom>
          <a:ln w="15875">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308475" y="4504817"/>
            <a:ext cx="274320" cy="0"/>
          </a:xfrm>
          <a:prstGeom prst="line">
            <a:avLst/>
          </a:prstGeom>
          <a:ln w="15875">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308475" y="5724017"/>
            <a:ext cx="274320" cy="0"/>
          </a:xfrm>
          <a:prstGeom prst="line">
            <a:avLst/>
          </a:prstGeom>
          <a:ln w="15875">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4562475" y="2904617"/>
            <a:ext cx="274320" cy="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4562475" y="3971417"/>
            <a:ext cx="274320" cy="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4562475" y="5114417"/>
            <a:ext cx="274320" cy="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4562475" y="6333617"/>
            <a:ext cx="274320" cy="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0925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fade">
                                      <p:cBhvr>
                                        <p:cTn id="13" dur="500"/>
                                        <p:tgtEl>
                                          <p:spTgt spid="4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500"/>
                                        <p:tgtEl>
                                          <p:spTgt spid="4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nodeType="with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fade">
                                      <p:cBhvr>
                                        <p:cTn id="35" dur="500"/>
                                        <p:tgtEl>
                                          <p:spTgt spid="4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500"/>
                                        <p:tgtEl>
                                          <p:spTgt spid="2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nodeType="withEffect">
                                  <p:stCondLst>
                                    <p:cond delay="0"/>
                                  </p:stCondLst>
                                  <p:childTnLst>
                                    <p:set>
                                      <p:cBhvr>
                                        <p:cTn id="45" dur="1" fill="hold">
                                          <p:stCondLst>
                                            <p:cond delay="0"/>
                                          </p:stCondLst>
                                        </p:cTn>
                                        <p:tgtEl>
                                          <p:spTgt spid="49"/>
                                        </p:tgtEl>
                                        <p:attrNameLst>
                                          <p:attrName>style.visibility</p:attrName>
                                        </p:attrNameLst>
                                      </p:cBhvr>
                                      <p:to>
                                        <p:strVal val="visible"/>
                                      </p:to>
                                    </p:set>
                                    <p:animEffect transition="in" filter="fade">
                                      <p:cBhvr>
                                        <p:cTn id="46" dur="500"/>
                                        <p:tgtEl>
                                          <p:spTgt spid="4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par>
                                <p:cTn id="55" presetID="10" presetClass="entr" presetSubtype="0" fill="hold"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7"/>
                                        </p:tgtEl>
                                        <p:attrNameLst>
                                          <p:attrName>style.visibility</p:attrName>
                                        </p:attrNameLst>
                                      </p:cBhvr>
                                      <p:to>
                                        <p:strVal val="visible"/>
                                      </p:to>
                                    </p:set>
                                    <p:animEffect transition="in" filter="fade">
                                      <p:cBhvr>
                                        <p:cTn id="62" dur="500"/>
                                        <p:tgtEl>
                                          <p:spTgt spid="2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par>
                                <p:cTn id="66" presetID="10" presetClass="entr" presetSubtype="0" fill="hold" nodeType="withEffect">
                                  <p:stCondLst>
                                    <p:cond delay="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500"/>
                                        <p:tgtEl>
                                          <p:spTgt spid="25"/>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1"/>
                                        </p:tgtEl>
                                        <p:attrNameLst>
                                          <p:attrName>style.visibility</p:attrName>
                                        </p:attrNameLst>
                                      </p:cBhvr>
                                      <p:to>
                                        <p:strVal val="visible"/>
                                      </p:to>
                                    </p:set>
                                    <p:animEffect transition="in" filter="fade">
                                      <p:cBhvr>
                                        <p:cTn id="76" dur="500"/>
                                        <p:tgtEl>
                                          <p:spTgt spid="21"/>
                                        </p:tgtEl>
                                      </p:cBhvr>
                                    </p:animEffect>
                                  </p:childTnLst>
                                </p:cTn>
                              </p:par>
                              <p:par>
                                <p:cTn id="77" presetID="10" presetClass="entr" presetSubtype="0" fill="hold" nodeType="withEffect">
                                  <p:stCondLst>
                                    <p:cond delay="0"/>
                                  </p:stCondLst>
                                  <p:childTnLst>
                                    <p:set>
                                      <p:cBhvr>
                                        <p:cTn id="78" dur="1" fill="hold">
                                          <p:stCondLst>
                                            <p:cond delay="0"/>
                                          </p:stCondLst>
                                        </p:cTn>
                                        <p:tgtEl>
                                          <p:spTgt spid="46"/>
                                        </p:tgtEl>
                                        <p:attrNameLst>
                                          <p:attrName>style.visibility</p:attrName>
                                        </p:attrNameLst>
                                      </p:cBhvr>
                                      <p:to>
                                        <p:strVal val="visible"/>
                                      </p:to>
                                    </p:set>
                                    <p:animEffect transition="in" filter="fade">
                                      <p:cBhvr>
                                        <p:cTn id="79" dur="500"/>
                                        <p:tgtEl>
                                          <p:spTgt spid="46"/>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500"/>
                                        <p:tgtEl>
                                          <p:spTgt spid="2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fade">
                                      <p:cBhvr>
                                        <p:cTn id="87" dur="500"/>
                                        <p:tgtEl>
                                          <p:spTgt spid="22"/>
                                        </p:tgtEl>
                                      </p:cBhvr>
                                    </p:animEffect>
                                  </p:childTnLst>
                                </p:cTn>
                              </p:par>
                              <p:par>
                                <p:cTn id="88" presetID="10" presetClass="entr" presetSubtype="0" fill="hold" nodeType="withEffect">
                                  <p:stCondLst>
                                    <p:cond delay="0"/>
                                  </p:stCondLst>
                                  <p:childTnLst>
                                    <p:set>
                                      <p:cBhvr>
                                        <p:cTn id="89" dur="1" fill="hold">
                                          <p:stCondLst>
                                            <p:cond delay="0"/>
                                          </p:stCondLst>
                                        </p:cTn>
                                        <p:tgtEl>
                                          <p:spTgt spid="51"/>
                                        </p:tgtEl>
                                        <p:attrNameLst>
                                          <p:attrName>style.visibility</p:attrName>
                                        </p:attrNameLst>
                                      </p:cBhvr>
                                      <p:to>
                                        <p:strVal val="visible"/>
                                      </p:to>
                                    </p:set>
                                    <p:animEffect transition="in" filter="fade">
                                      <p:cBhvr>
                                        <p:cTn id="90" dur="500"/>
                                        <p:tgtEl>
                                          <p:spTgt spid="51"/>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43"/>
                                        </p:tgtEl>
                                        <p:attrNameLst>
                                          <p:attrName>style.visibility</p:attrName>
                                        </p:attrNameLst>
                                      </p:cBhvr>
                                      <p:to>
                                        <p:strVal val="visible"/>
                                      </p:to>
                                    </p:set>
                                    <p:animEffect transition="in" filter="fade">
                                      <p:cBhvr>
                                        <p:cTn id="95" dur="500"/>
                                        <p:tgtEl>
                                          <p:spTgt spid="43"/>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500"/>
                                        <p:tgtEl>
                                          <p:spTgt spid="33"/>
                                        </p:tgtEl>
                                      </p:cBhvr>
                                    </p:animEffect>
                                  </p:childTnLst>
                                </p:cTn>
                              </p:par>
                              <p:par>
                                <p:cTn id="99" presetID="10" presetClass="entr" presetSubtype="0" fill="hold" nodeType="withEffect">
                                  <p:stCondLst>
                                    <p:cond delay="0"/>
                                  </p:stCondLst>
                                  <p:childTnLst>
                                    <p:set>
                                      <p:cBhvr>
                                        <p:cTn id="100" dur="1" fill="hold">
                                          <p:stCondLst>
                                            <p:cond delay="0"/>
                                          </p:stCondLst>
                                        </p:cTn>
                                        <p:tgtEl>
                                          <p:spTgt spid="47"/>
                                        </p:tgtEl>
                                        <p:attrNameLst>
                                          <p:attrName>style.visibility</p:attrName>
                                        </p:attrNameLst>
                                      </p:cBhvr>
                                      <p:to>
                                        <p:strVal val="visible"/>
                                      </p:to>
                                    </p:set>
                                    <p:animEffect transition="in" filter="fade">
                                      <p:cBhvr>
                                        <p:cTn id="101" dur="500"/>
                                        <p:tgtEl>
                                          <p:spTgt spid="47"/>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6"/>
                                        </p:tgtEl>
                                        <p:attrNameLst>
                                          <p:attrName>style.visibility</p:attrName>
                                        </p:attrNameLst>
                                      </p:cBhvr>
                                      <p:to>
                                        <p:strVal val="visible"/>
                                      </p:to>
                                    </p:set>
                                    <p:animEffect transition="in" filter="fade">
                                      <p:cBhvr>
                                        <p:cTn id="106" dur="500"/>
                                        <p:tgtEl>
                                          <p:spTgt spid="36"/>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34"/>
                                        </p:tgtEl>
                                        <p:attrNameLst>
                                          <p:attrName>style.visibility</p:attrName>
                                        </p:attrNameLst>
                                      </p:cBhvr>
                                      <p:to>
                                        <p:strVal val="visible"/>
                                      </p:to>
                                    </p:set>
                                    <p:animEffect transition="in" filter="fade">
                                      <p:cBhvr>
                                        <p:cTn id="109" dur="500"/>
                                        <p:tgtEl>
                                          <p:spTgt spid="34"/>
                                        </p:tgtEl>
                                      </p:cBhvr>
                                    </p:animEffect>
                                  </p:childTnLst>
                                </p:cTn>
                              </p:par>
                              <p:par>
                                <p:cTn id="110" presetID="10" presetClass="entr" presetSubtype="0" fill="hold" nodeType="withEffect">
                                  <p:stCondLst>
                                    <p:cond delay="0"/>
                                  </p:stCondLst>
                                  <p:childTnLst>
                                    <p:set>
                                      <p:cBhvr>
                                        <p:cTn id="111" dur="1" fill="hold">
                                          <p:stCondLst>
                                            <p:cond delay="0"/>
                                          </p:stCondLst>
                                        </p:cTn>
                                        <p:tgtEl>
                                          <p:spTgt spid="52"/>
                                        </p:tgtEl>
                                        <p:attrNameLst>
                                          <p:attrName>style.visibility</p:attrName>
                                        </p:attrNameLst>
                                      </p:cBhvr>
                                      <p:to>
                                        <p:strVal val="visible"/>
                                      </p:to>
                                    </p:set>
                                    <p:animEffect transition="in" filter="fade">
                                      <p:cBhvr>
                                        <p:cTn id="112"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5" grpId="0" animBg="1"/>
      <p:bldP spid="23" grpId="0" animBg="1"/>
      <p:bldP spid="26" grpId="0" animBg="1"/>
      <p:bldP spid="24" grpId="0" animBg="1"/>
      <p:bldP spid="27" grpId="0" animBg="1"/>
      <p:bldP spid="25" grpId="0" animBg="1"/>
      <p:bldP spid="28" grpId="0" animBg="1"/>
      <p:bldP spid="36" grpId="0" animBg="1"/>
      <p:bldP spid="43" grpId="0" animBg="1"/>
      <p:bldP spid="12" grpId="0" animBg="1"/>
      <p:bldP spid="8" grpId="0" animBg="1"/>
      <p:bldP spid="17" grpId="0" animBg="1"/>
      <p:bldP spid="18" grpId="0" animBg="1"/>
      <p:bldP spid="19" grpId="0" animBg="1"/>
      <p:bldP spid="20" grpId="0" animBg="1"/>
      <p:bldP spid="21" grpId="0" animBg="1"/>
      <p:bldP spid="22" grpId="0" animBg="1"/>
      <p:bldP spid="33" grpId="0" animBg="1"/>
      <p:bldP spid="3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Grp="1" noChangeArrowheads="1"/>
          </p:cNvSpPr>
          <p:nvPr>
            <p:ph type="title"/>
          </p:nvPr>
        </p:nvSpPr>
        <p:spPr/>
        <p:txBody>
          <a:bodyPr/>
          <a:lstStyle/>
          <a:p>
            <a:pPr eaLnBrk="1" hangingPunct="1"/>
            <a:endParaRPr lang="en-US" altLang="en-US" dirty="0" smtClean="0"/>
          </a:p>
        </p:txBody>
      </p:sp>
      <p:pic>
        <p:nvPicPr>
          <p:cNvPr id="14339" name="Picture 6" descr="LeftLat"/>
          <p:cNvPicPr>
            <a:picLocks noGrp="1" noChangeAspect="1" noChangeArrowheads="1"/>
          </p:cNvPicPr>
          <p:nvPr>
            <p:ph idx="1"/>
          </p:nvPr>
        </p:nvPicPr>
        <p:blipFill rotWithShape="1">
          <a:blip r:embed="rId3" cstate="print">
            <a:extLst>
              <a:ext uri="{28A0092B-C50C-407E-A947-70E740481C1C}">
                <a14:useLocalDpi xmlns:a14="http://schemas.microsoft.com/office/drawing/2010/main"/>
              </a:ext>
            </a:extLst>
          </a:blip>
          <a:srcRect/>
          <a:stretch/>
        </p:blipFill>
        <p:spPr>
          <a:xfrm>
            <a:off x="0" y="0"/>
            <a:ext cx="9144000" cy="6858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ustDataLst>
      <p:tags r:id="rId1"/>
    </p:custDataLst>
    <p:extLst>
      <p:ext uri="{BB962C8B-B14F-4D97-AF65-F5344CB8AC3E}">
        <p14:creationId xmlns:p14="http://schemas.microsoft.com/office/powerpoint/2010/main" val="17236991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4"/>
          <p:cNvSpPr>
            <a:spLocks noGrp="1" noChangeArrowheads="1"/>
          </p:cNvSpPr>
          <p:nvPr>
            <p:ph type="title"/>
          </p:nvPr>
        </p:nvSpPr>
        <p:spPr/>
        <p:txBody>
          <a:bodyPr/>
          <a:lstStyle/>
          <a:p>
            <a:pPr eaLnBrk="1" hangingPunct="1"/>
            <a:endParaRPr lang="en-US" altLang="en-US" dirty="0" smtClean="0"/>
          </a:p>
        </p:txBody>
      </p:sp>
      <p:pic>
        <p:nvPicPr>
          <p:cNvPr id="15363" name="Picture 6" descr="EdPt"/>
          <p:cNvPicPr>
            <a:picLocks noGrp="1" noChangeAspect="1" noChangeArrowheads="1"/>
          </p:cNvPicPr>
          <p:nvPr>
            <p:ph idx="1"/>
          </p:nvPr>
        </p:nvPicPr>
        <p:blipFill rotWithShape="1">
          <a:blip r:embed="rId3" cstate="print">
            <a:extLst>
              <a:ext uri="{28A0092B-C50C-407E-A947-70E740481C1C}">
                <a14:useLocalDpi xmlns:a14="http://schemas.microsoft.com/office/drawing/2010/main"/>
              </a:ext>
            </a:extLst>
          </a:blip>
          <a:srcRect/>
          <a:stretch/>
        </p:blipFill>
        <p:spPr>
          <a:xfrm>
            <a:off x="9617" y="0"/>
            <a:ext cx="9134383" cy="6858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ustDataLst>
      <p:tags r:id="rId1"/>
    </p:custDataLst>
    <p:extLst>
      <p:ext uri="{BB962C8B-B14F-4D97-AF65-F5344CB8AC3E}">
        <p14:creationId xmlns:p14="http://schemas.microsoft.com/office/powerpoint/2010/main" val="344117091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st of TB Treatment</a:t>
            </a:r>
            <a:endParaRPr lang="en-US" dirty="0"/>
          </a:p>
        </p:txBody>
      </p:sp>
      <p:sp>
        <p:nvSpPr>
          <p:cNvPr id="4" name="Content Placeholder 3"/>
          <p:cNvSpPr>
            <a:spLocks noGrp="1"/>
          </p:cNvSpPr>
          <p:nvPr>
            <p:ph sz="half" idx="2"/>
          </p:nvPr>
        </p:nvSpPr>
        <p:spPr>
          <a:xfrm>
            <a:off x="4648200" y="2514600"/>
            <a:ext cx="4495800" cy="2895600"/>
          </a:xfrm>
        </p:spPr>
        <p:txBody>
          <a:bodyPr>
            <a:normAutofit/>
          </a:bodyPr>
          <a:lstStyle/>
          <a:p>
            <a:r>
              <a:rPr lang="en-US" sz="3600" dirty="0" smtClean="0"/>
              <a:t>TB infection $700</a:t>
            </a:r>
          </a:p>
          <a:p>
            <a:r>
              <a:rPr lang="en-US" sz="3600" dirty="0" smtClean="0"/>
              <a:t>TB Disease $17,000</a:t>
            </a:r>
          </a:p>
          <a:p>
            <a:r>
              <a:rPr lang="en-US" sz="3600" dirty="0" smtClean="0"/>
              <a:t>MDR-TB $400,000</a:t>
            </a:r>
          </a:p>
          <a:p>
            <a:r>
              <a:rPr lang="en-US" sz="3600" dirty="0" smtClean="0"/>
              <a:t>XDR-TB &gt;$1,000,000</a:t>
            </a:r>
            <a:endParaRPr lang="en-US" sz="3600" dirty="0"/>
          </a:p>
        </p:txBody>
      </p:sp>
      <p:pic>
        <p:nvPicPr>
          <p:cNvPr id="5" name="Content Placeholder 4"/>
          <p:cNvPicPr>
            <a:picLocks noGrp="1" noChangeAspect="1"/>
          </p:cNvPicPr>
          <p:nvPr>
            <p:ph sz="half" idx="1"/>
          </p:nvPr>
        </p:nvPicPr>
        <p:blipFill>
          <a:blip r:embed="rId2" cstate="email">
            <a:extLst>
              <a:ext uri="{28A0092B-C50C-407E-A947-70E740481C1C}">
                <a14:useLocalDpi xmlns:a14="http://schemas.microsoft.com/office/drawing/2010/main"/>
              </a:ext>
            </a:extLst>
          </a:blip>
          <a:stretch>
            <a:fillRect/>
          </a:stretch>
        </p:blipFill>
        <p:spPr>
          <a:xfrm>
            <a:off x="-28832" y="1219200"/>
            <a:ext cx="4524632" cy="5839295"/>
          </a:xfrm>
          <a:prstGeom prst="rect">
            <a:avLst/>
          </a:prstGeom>
        </p:spPr>
      </p:pic>
    </p:spTree>
    <p:extLst>
      <p:ext uri="{BB962C8B-B14F-4D97-AF65-F5344CB8AC3E}">
        <p14:creationId xmlns:p14="http://schemas.microsoft.com/office/powerpoint/2010/main" val="14999973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BEBA8EAE-BF5A-486C-A8C5-ECC9F3942E4B}">
                <a14:imgProps xmlns:a14="http://schemas.microsoft.com/office/drawing/2010/main">
                  <a14:imgLayer r:embed="rId4">
                    <a14:imgEffect>
                      <a14:sharpenSoften amount="250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Rectangle 2"/>
          <p:cNvSpPr/>
          <p:nvPr/>
        </p:nvSpPr>
        <p:spPr>
          <a:xfrm>
            <a:off x="0" y="0"/>
            <a:ext cx="9144000" cy="6858000"/>
          </a:xfrm>
          <a:prstGeom prst="rect">
            <a:avLst/>
          </a:prstGeom>
          <a:solidFill>
            <a:schemeClr val="bg2">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152400" y="4343400"/>
            <a:ext cx="8839200" cy="2308324"/>
          </a:xfrm>
          <a:prstGeom prst="rect">
            <a:avLst/>
          </a:prstGeom>
        </p:spPr>
        <p:txBody>
          <a:bodyPr wrap="square">
            <a:spAutoFit/>
          </a:bodyPr>
          <a:lstStyle/>
          <a:p>
            <a:pPr algn="ctr" fontAlgn="auto">
              <a:spcBef>
                <a:spcPts val="0"/>
              </a:spcBef>
              <a:spcAft>
                <a:spcPts val="0"/>
              </a:spcAft>
              <a:defRPr/>
            </a:pPr>
            <a:r>
              <a:rPr lang="en-US" sz="4800" dirty="0">
                <a:effectLst>
                  <a:outerShdw blurRad="38100" dist="38100" dir="2700000" algn="tl">
                    <a:srgbClr val="000000">
                      <a:alpha val="43137"/>
                    </a:srgbClr>
                  </a:outerShdw>
                </a:effectLst>
              </a:rPr>
              <a:t>Eliminate health disparities due </a:t>
            </a:r>
            <a:r>
              <a:rPr lang="en-US" sz="4800" dirty="0" smtClean="0">
                <a:effectLst>
                  <a:outerShdw blurRad="38100" dist="38100" dir="2700000" algn="tl">
                    <a:srgbClr val="000000">
                      <a:alpha val="43137"/>
                    </a:srgbClr>
                  </a:outerShdw>
                </a:effectLst>
              </a:rPr>
              <a:t/>
            </a:r>
            <a:br>
              <a:rPr lang="en-US" sz="4800" dirty="0" smtClean="0">
                <a:effectLst>
                  <a:outerShdw blurRad="38100" dist="38100" dir="2700000" algn="tl">
                    <a:srgbClr val="000000">
                      <a:alpha val="43137"/>
                    </a:srgbClr>
                  </a:outerShdw>
                </a:effectLst>
              </a:rPr>
            </a:br>
            <a:r>
              <a:rPr lang="en-US" sz="4800" dirty="0" smtClean="0">
                <a:effectLst>
                  <a:outerShdw blurRad="38100" dist="38100" dir="2700000" algn="tl">
                    <a:srgbClr val="000000">
                      <a:alpha val="43137"/>
                    </a:srgbClr>
                  </a:outerShdw>
                </a:effectLst>
              </a:rPr>
              <a:t>to </a:t>
            </a:r>
            <a:r>
              <a:rPr lang="en-US" sz="4800" dirty="0">
                <a:effectLst>
                  <a:outerShdw blurRad="38100" dist="38100" dir="2700000" algn="tl">
                    <a:srgbClr val="000000">
                      <a:alpha val="43137"/>
                    </a:srgbClr>
                  </a:outerShdw>
                </a:effectLst>
              </a:rPr>
              <a:t>patient </a:t>
            </a:r>
            <a:r>
              <a:rPr lang="en-US" sz="4800" dirty="0" smtClean="0">
                <a:effectLst>
                  <a:outerShdw blurRad="38100" dist="38100" dir="2700000" algn="tl">
                    <a:srgbClr val="000000">
                      <a:alpha val="43137"/>
                    </a:srgbClr>
                  </a:outerShdw>
                </a:effectLst>
              </a:rPr>
              <a:t>mobility</a:t>
            </a:r>
            <a:br>
              <a:rPr lang="en-US" sz="4800" dirty="0" smtClean="0">
                <a:effectLst>
                  <a:outerShdw blurRad="38100" dist="38100" dir="2700000" algn="tl">
                    <a:srgbClr val="000000">
                      <a:alpha val="43137"/>
                    </a:srgbClr>
                  </a:outerShdw>
                </a:effectLst>
              </a:rPr>
            </a:br>
            <a:endParaRPr lang="en-US" sz="4800" dirty="0">
              <a:effectLst>
                <a:outerShdw blurRad="38100" dist="38100" dir="2700000" algn="tl">
                  <a:srgbClr val="000000">
                    <a:alpha val="43137"/>
                  </a:srgbClr>
                </a:outerShdw>
              </a:effectLst>
            </a:endParaRPr>
          </a:p>
        </p:txBody>
      </p:sp>
      <p:sp>
        <p:nvSpPr>
          <p:cNvPr id="5" name="Rectangle 4"/>
          <p:cNvSpPr/>
          <p:nvPr/>
        </p:nvSpPr>
        <p:spPr>
          <a:xfrm>
            <a:off x="4838957" y="58454"/>
            <a:ext cx="4330032" cy="1938992"/>
          </a:xfrm>
          <a:prstGeom prst="rect">
            <a:avLst/>
          </a:prstGeom>
        </p:spPr>
        <p:txBody>
          <a:bodyPr wrap="none">
            <a:spAutoFit/>
          </a:bodyPr>
          <a:lstStyle/>
          <a:p>
            <a:pPr algn="r"/>
            <a:r>
              <a:rPr lang="en-US" sz="6000" dirty="0">
                <a:effectLst>
                  <a:outerShdw blurRad="38100" dist="38100" dir="2700000" algn="tl">
                    <a:srgbClr val="000000">
                      <a:alpha val="43137"/>
                    </a:srgbClr>
                  </a:outerShdw>
                </a:effectLst>
                <a:latin typeface="Roboto" panose="02000000000000000000" pitchFamily="2" charset="0"/>
                <a:ea typeface="Roboto" panose="02000000000000000000" pitchFamily="2" charset="0"/>
                <a:cs typeface="Roboto" panose="02000000000000000000" pitchFamily="2" charset="0"/>
              </a:rPr>
              <a:t>MCN </a:t>
            </a:r>
            <a:r>
              <a:rPr lang="en-US" sz="6000" dirty="0" smtClean="0">
                <a:effectLst>
                  <a:outerShdw blurRad="38100" dist="38100" dir="2700000" algn="tl">
                    <a:srgbClr val="000000">
                      <a:alpha val="43137"/>
                    </a:srgbClr>
                  </a:outerShdw>
                </a:effectLst>
                <a:latin typeface="Roboto" panose="02000000000000000000" pitchFamily="2" charset="0"/>
                <a:ea typeface="Roboto" panose="02000000000000000000" pitchFamily="2" charset="0"/>
                <a:cs typeface="Roboto" panose="02000000000000000000" pitchFamily="2" charset="0"/>
              </a:rPr>
              <a:t>Health</a:t>
            </a:r>
            <a:br>
              <a:rPr lang="en-US" sz="6000" dirty="0" smtClean="0">
                <a:effectLst>
                  <a:outerShdw blurRad="38100" dist="38100" dir="2700000" algn="tl">
                    <a:srgbClr val="000000">
                      <a:alpha val="43137"/>
                    </a:srgbClr>
                  </a:outerShdw>
                </a:effectLst>
                <a:latin typeface="Roboto" panose="02000000000000000000" pitchFamily="2" charset="0"/>
                <a:ea typeface="Roboto" panose="02000000000000000000" pitchFamily="2" charset="0"/>
                <a:cs typeface="Roboto" panose="02000000000000000000" pitchFamily="2" charset="0"/>
              </a:rPr>
            </a:br>
            <a:r>
              <a:rPr lang="en-US" sz="6000" dirty="0" smtClean="0">
                <a:effectLst>
                  <a:outerShdw blurRad="38100" dist="38100" dir="2700000" algn="tl">
                    <a:srgbClr val="000000">
                      <a:alpha val="43137"/>
                    </a:srgbClr>
                  </a:outerShdw>
                </a:effectLst>
                <a:latin typeface="Roboto" panose="02000000000000000000" pitchFamily="2" charset="0"/>
                <a:ea typeface="Roboto" panose="02000000000000000000" pitchFamily="2" charset="0"/>
                <a:cs typeface="Roboto" panose="02000000000000000000" pitchFamily="2" charset="0"/>
              </a:rPr>
              <a:t>Network</a:t>
            </a:r>
            <a:endParaRPr lang="en-US" sz="6000" dirty="0">
              <a:effectLst>
                <a:outerShdw blurRad="38100" dist="38100" dir="2700000" algn="tl">
                  <a:srgbClr val="000000">
                    <a:alpha val="43137"/>
                  </a:srgbClr>
                </a:outerShdw>
              </a:effectLst>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077304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Effect>
                      <a14:colorTemperature colorTemp="7200"/>
                    </a14:imgEffect>
                    <a14:imgEffect>
                      <a14:saturation sat="400000"/>
                    </a14:imgEffect>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70312" y="838200"/>
            <a:ext cx="9045575" cy="508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0" y="0"/>
            <a:ext cx="9144000" cy="88406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0" y="5973932"/>
            <a:ext cx="9144000" cy="88406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394485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unframedartistsgallery.com/images/forms.png"/>
          <p:cNvPicPr>
            <a:picLocks noChangeAspect="1" noChangeArrowheads="1"/>
          </p:cNvPicPr>
          <p:nvPr/>
        </p:nvPicPr>
        <p:blipFill>
          <a:blip r:embed="rId2" cstate="email">
            <a:duotone>
              <a:prstClr val="black"/>
              <a:schemeClr val="accent5">
                <a:tint val="45000"/>
                <a:satMod val="400000"/>
              </a:schemeClr>
            </a:duotone>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a:ext>
            </a:extLst>
          </a:blip>
          <a:srcRect/>
          <a:stretch>
            <a:fillRect/>
          </a:stretch>
        </p:blipFill>
        <p:spPr bwMode="auto">
          <a:xfrm>
            <a:off x="160193" y="2971800"/>
            <a:ext cx="8963025" cy="327840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295400" y="512618"/>
            <a:ext cx="6356227" cy="2123658"/>
          </a:xfrm>
          <a:prstGeom prst="rect">
            <a:avLst/>
          </a:prstGeom>
        </p:spPr>
        <p:txBody>
          <a:bodyPr wrap="none">
            <a:spAutoFit/>
          </a:bodyPr>
          <a:lstStyle/>
          <a:p>
            <a:pPr algn="ctr"/>
            <a:r>
              <a:rPr lang="en-US" altLang="en-US" sz="6600" dirty="0">
                <a:latin typeface="Roboto" panose="02000000000000000000" pitchFamily="2" charset="0"/>
                <a:ea typeface="Roboto" panose="02000000000000000000" pitchFamily="2" charset="0"/>
                <a:cs typeface="Roboto" panose="02000000000000000000" pitchFamily="2" charset="0"/>
              </a:rPr>
              <a:t>Forms Required </a:t>
            </a:r>
            <a:r>
              <a:rPr lang="en-US" altLang="en-US" sz="6600" dirty="0" smtClean="0">
                <a:latin typeface="Roboto" panose="02000000000000000000" pitchFamily="2" charset="0"/>
                <a:ea typeface="Roboto" panose="02000000000000000000" pitchFamily="2" charset="0"/>
                <a:cs typeface="Roboto" panose="02000000000000000000" pitchFamily="2" charset="0"/>
              </a:rPr>
              <a:t/>
            </a:r>
            <a:br>
              <a:rPr lang="en-US" altLang="en-US" sz="6600" dirty="0" smtClean="0">
                <a:latin typeface="Roboto" panose="02000000000000000000" pitchFamily="2" charset="0"/>
                <a:ea typeface="Roboto" panose="02000000000000000000" pitchFamily="2" charset="0"/>
                <a:cs typeface="Roboto" panose="02000000000000000000" pitchFamily="2" charset="0"/>
              </a:rPr>
            </a:br>
            <a:r>
              <a:rPr lang="en-US" altLang="en-US" sz="6600" dirty="0" smtClean="0">
                <a:latin typeface="Roboto" panose="02000000000000000000" pitchFamily="2" charset="0"/>
                <a:ea typeface="Roboto" panose="02000000000000000000" pitchFamily="2" charset="0"/>
                <a:cs typeface="Roboto" panose="02000000000000000000" pitchFamily="2" charset="0"/>
              </a:rPr>
              <a:t>for </a:t>
            </a:r>
            <a:r>
              <a:rPr lang="en-US" altLang="en-US" sz="6600" dirty="0">
                <a:latin typeface="Roboto" panose="02000000000000000000" pitchFamily="2" charset="0"/>
                <a:ea typeface="Roboto" panose="02000000000000000000" pitchFamily="2" charset="0"/>
                <a:cs typeface="Roboto" panose="02000000000000000000" pitchFamily="2" charset="0"/>
              </a:rPr>
              <a:t>Enrollment</a:t>
            </a:r>
            <a:endParaRPr lang="en-US" sz="660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92125983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09814" y="0"/>
            <a:ext cx="5124372" cy="6858000"/>
          </a:xfrm>
          <a:prstGeom prst="rect">
            <a:avLst/>
          </a:prstGeom>
        </p:spPr>
      </p:pic>
      <p:pic>
        <p:nvPicPr>
          <p:cNvPr id="3" name="Picture 2"/>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752600" y="4982990"/>
            <a:ext cx="1905000" cy="1447800"/>
          </a:xfrm>
          <a:prstGeom prst="rect">
            <a:avLst/>
          </a:prstGeom>
        </p:spPr>
      </p:pic>
      <p:pic>
        <p:nvPicPr>
          <p:cNvPr id="4" name="Picture 3"/>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rot="2717146" flipV="1">
            <a:off x="912248" y="4533950"/>
            <a:ext cx="1168862" cy="1739322"/>
          </a:xfrm>
          <a:prstGeom prst="rect">
            <a:avLst/>
          </a:prstGeom>
        </p:spPr>
      </p:pic>
      <p:sp>
        <p:nvSpPr>
          <p:cNvPr id="5" name="TextBox 4"/>
          <p:cNvSpPr txBox="1"/>
          <p:nvPr/>
        </p:nvSpPr>
        <p:spPr>
          <a:xfrm>
            <a:off x="128200" y="3276600"/>
            <a:ext cx="1624400" cy="369332"/>
          </a:xfrm>
          <a:prstGeom prst="rect">
            <a:avLst/>
          </a:prstGeom>
          <a:noFill/>
        </p:spPr>
        <p:txBody>
          <a:bodyPr wrap="square" rtlCol="0">
            <a:spAutoFit/>
          </a:bodyPr>
          <a:lstStyle/>
          <a:p>
            <a:endParaRPr lang="en-US" dirty="0"/>
          </a:p>
        </p:txBody>
      </p:sp>
      <p:sp>
        <p:nvSpPr>
          <p:cNvPr id="6" name="Rectangle 5"/>
          <p:cNvSpPr/>
          <p:nvPr/>
        </p:nvSpPr>
        <p:spPr>
          <a:xfrm rot="20796796">
            <a:off x="81023" y="3425926"/>
            <a:ext cx="2071528" cy="1508105"/>
          </a:xfrm>
          <a:custGeom>
            <a:avLst/>
            <a:gdLst>
              <a:gd name="connsiteX0" fmla="*/ 0 w 2081600"/>
              <a:gd name="connsiteY0" fmla="*/ 0 h 1200329"/>
              <a:gd name="connsiteX1" fmla="*/ 2081600 w 2081600"/>
              <a:gd name="connsiteY1" fmla="*/ 0 h 1200329"/>
              <a:gd name="connsiteX2" fmla="*/ 2081600 w 2081600"/>
              <a:gd name="connsiteY2" fmla="*/ 1200329 h 1200329"/>
              <a:gd name="connsiteX3" fmla="*/ 0 w 2081600"/>
              <a:gd name="connsiteY3" fmla="*/ 1200329 h 1200329"/>
              <a:gd name="connsiteX4" fmla="*/ 0 w 2081600"/>
              <a:gd name="connsiteY4" fmla="*/ 0 h 1200329"/>
              <a:gd name="connsiteX0" fmla="*/ 0 w 2081600"/>
              <a:gd name="connsiteY0" fmla="*/ 209395 h 1409724"/>
              <a:gd name="connsiteX1" fmla="*/ 1016630 w 2081600"/>
              <a:gd name="connsiteY1" fmla="*/ 0 h 1409724"/>
              <a:gd name="connsiteX2" fmla="*/ 2081600 w 2081600"/>
              <a:gd name="connsiteY2" fmla="*/ 209395 h 1409724"/>
              <a:gd name="connsiteX3" fmla="*/ 2081600 w 2081600"/>
              <a:gd name="connsiteY3" fmla="*/ 1409724 h 1409724"/>
              <a:gd name="connsiteX4" fmla="*/ 0 w 2081600"/>
              <a:gd name="connsiteY4" fmla="*/ 1409724 h 1409724"/>
              <a:gd name="connsiteX5" fmla="*/ 0 w 2081600"/>
              <a:gd name="connsiteY5" fmla="*/ 209395 h 1409724"/>
              <a:gd name="connsiteX0" fmla="*/ 0 w 2081600"/>
              <a:gd name="connsiteY0" fmla="*/ 209395 h 1409724"/>
              <a:gd name="connsiteX1" fmla="*/ 1016630 w 2081600"/>
              <a:gd name="connsiteY1" fmla="*/ 0 h 1409724"/>
              <a:gd name="connsiteX2" fmla="*/ 1920060 w 2081600"/>
              <a:gd name="connsiteY2" fmla="*/ 493216 h 1409724"/>
              <a:gd name="connsiteX3" fmla="*/ 2081600 w 2081600"/>
              <a:gd name="connsiteY3" fmla="*/ 1409724 h 1409724"/>
              <a:gd name="connsiteX4" fmla="*/ 0 w 2081600"/>
              <a:gd name="connsiteY4" fmla="*/ 1409724 h 1409724"/>
              <a:gd name="connsiteX5" fmla="*/ 0 w 2081600"/>
              <a:gd name="connsiteY5" fmla="*/ 209395 h 1409724"/>
              <a:gd name="connsiteX0" fmla="*/ 187622 w 2081600"/>
              <a:gd name="connsiteY0" fmla="*/ 549455 h 1409724"/>
              <a:gd name="connsiteX1" fmla="*/ 1016630 w 2081600"/>
              <a:gd name="connsiteY1" fmla="*/ 0 h 1409724"/>
              <a:gd name="connsiteX2" fmla="*/ 1920060 w 2081600"/>
              <a:gd name="connsiteY2" fmla="*/ 493216 h 1409724"/>
              <a:gd name="connsiteX3" fmla="*/ 2081600 w 2081600"/>
              <a:gd name="connsiteY3" fmla="*/ 1409724 h 1409724"/>
              <a:gd name="connsiteX4" fmla="*/ 0 w 2081600"/>
              <a:gd name="connsiteY4" fmla="*/ 1409724 h 1409724"/>
              <a:gd name="connsiteX5" fmla="*/ 187622 w 2081600"/>
              <a:gd name="connsiteY5" fmla="*/ 549455 h 140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1600" h="1409724">
                <a:moveTo>
                  <a:pt x="187622" y="549455"/>
                </a:moveTo>
                <a:cubicBezTo>
                  <a:pt x="529329" y="542993"/>
                  <a:pt x="674923" y="6462"/>
                  <a:pt x="1016630" y="0"/>
                </a:cubicBezTo>
                <a:lnTo>
                  <a:pt x="1920060" y="493216"/>
                </a:lnTo>
                <a:lnTo>
                  <a:pt x="2081600" y="1409724"/>
                </a:lnTo>
                <a:lnTo>
                  <a:pt x="0" y="1409724"/>
                </a:lnTo>
                <a:lnTo>
                  <a:pt x="187622" y="549455"/>
                </a:lnTo>
                <a:close/>
              </a:path>
            </a:pathLst>
          </a:custGeom>
        </p:spPr>
        <p:txBody>
          <a:bodyPr wrap="square">
            <a:spAutoFit/>
          </a:bodyPr>
          <a:lstStyle/>
          <a:p>
            <a:r>
              <a:rPr lang="en-US" sz="2300" b="1" dirty="0" smtClean="0">
                <a:solidFill>
                  <a:schemeClr val="bg1"/>
                </a:solidFill>
                <a:latin typeface="Permanent Marker" panose="02000000000000000000" pitchFamily="2" charset="0"/>
                <a:ea typeface="Permanent Marker" panose="02000000000000000000" pitchFamily="2" charset="0"/>
                <a:cs typeface="MV Boli" panose="02000500030200090000" pitchFamily="2" charset="0"/>
              </a:rPr>
              <a:t>Must</a:t>
            </a:r>
            <a:r>
              <a:rPr lang="en-US" sz="2300" dirty="0" smtClean="0">
                <a:solidFill>
                  <a:schemeClr val="bg1"/>
                </a:solidFill>
                <a:latin typeface="Permanent Marker" panose="02000000000000000000" pitchFamily="2" charset="0"/>
                <a:ea typeface="Permanent Marker" panose="02000000000000000000" pitchFamily="2" charset="0"/>
                <a:cs typeface="MV Boli" panose="02000500030200090000" pitchFamily="2" charset="0"/>
              </a:rPr>
              <a:t> </a:t>
            </a:r>
            <a:r>
              <a:rPr lang="en-US" sz="2300" dirty="0">
                <a:solidFill>
                  <a:schemeClr val="bg1"/>
                </a:solidFill>
                <a:latin typeface="Permanent Marker" panose="02000000000000000000" pitchFamily="2" charset="0"/>
                <a:ea typeface="Permanent Marker" panose="02000000000000000000" pitchFamily="2" charset="0"/>
                <a:cs typeface="MV Boli" panose="02000500030200090000" pitchFamily="2" charset="0"/>
              </a:rPr>
              <a:t>have the participant’s signature </a:t>
            </a:r>
          </a:p>
        </p:txBody>
      </p:sp>
      <p:sp>
        <p:nvSpPr>
          <p:cNvPr id="7" name="Rectangle 6"/>
          <p:cNvSpPr/>
          <p:nvPr/>
        </p:nvSpPr>
        <p:spPr>
          <a:xfrm rot="586546">
            <a:off x="6442167" y="201096"/>
            <a:ext cx="2286000" cy="2031325"/>
          </a:xfrm>
          <a:prstGeom prst="rect">
            <a:avLst/>
          </a:prstGeom>
          <a:solidFill>
            <a:schemeClr val="accent4">
              <a:lumMod val="40000"/>
              <a:lumOff val="60000"/>
            </a:schemeClr>
          </a:solidFill>
          <a:effectLst>
            <a:outerShdw blurRad="50800" dist="38100" dir="5400000" algn="t" rotWithShape="0">
              <a:prstClr val="black">
                <a:alpha val="40000"/>
              </a:prstClr>
            </a:outerShdw>
          </a:effectLst>
        </p:spPr>
        <p:txBody>
          <a:bodyPr wrap="square">
            <a:spAutoFit/>
          </a:bodyPr>
          <a:lstStyle/>
          <a:p>
            <a:pPr algn="ctr"/>
            <a:r>
              <a:rPr lang="en-US" altLang="en-US" dirty="0">
                <a:latin typeface="Permanent Marker" panose="02000000000000000000" pitchFamily="2" charset="0"/>
                <a:ea typeface="Permanent Marker" panose="02000000000000000000" pitchFamily="2" charset="0"/>
              </a:rPr>
              <a:t>Gives MCN staff legal permission to transfer participants’ medical records and contact participants</a:t>
            </a:r>
          </a:p>
        </p:txBody>
      </p:sp>
      <p:sp>
        <p:nvSpPr>
          <p:cNvPr id="8" name="Rectangle 7"/>
          <p:cNvSpPr/>
          <p:nvPr/>
        </p:nvSpPr>
        <p:spPr>
          <a:xfrm rot="449882">
            <a:off x="6528030" y="2445603"/>
            <a:ext cx="2286000" cy="2031325"/>
          </a:xfrm>
          <a:prstGeom prst="rect">
            <a:avLst/>
          </a:prstGeom>
          <a:solidFill>
            <a:schemeClr val="accent3">
              <a:lumMod val="40000"/>
              <a:lumOff val="60000"/>
            </a:schemeClr>
          </a:solidFill>
          <a:effectLst>
            <a:outerShdw blurRad="50800" dist="38100" dir="5400000" algn="t" rotWithShape="0">
              <a:prstClr val="black">
                <a:alpha val="40000"/>
              </a:prstClr>
            </a:outerShdw>
          </a:effectLst>
        </p:spPr>
        <p:txBody>
          <a:bodyPr wrap="square">
            <a:spAutoFit/>
          </a:bodyPr>
          <a:lstStyle/>
          <a:p>
            <a:r>
              <a:rPr lang="en-US" altLang="en-US" dirty="0">
                <a:latin typeface="Permanent Marker" panose="02000000000000000000" pitchFamily="2" charset="0"/>
                <a:ea typeface="Permanent Marker" panose="02000000000000000000" pitchFamily="2" charset="0"/>
              </a:rPr>
              <a:t>Valid if sent </a:t>
            </a:r>
            <a:r>
              <a:rPr lang="en-US" altLang="en-US" dirty="0" smtClean="0">
                <a:latin typeface="Permanent Marker" panose="02000000000000000000" pitchFamily="2" charset="0"/>
                <a:ea typeface="Permanent Marker" panose="02000000000000000000" pitchFamily="2" charset="0"/>
              </a:rPr>
              <a:t>within </a:t>
            </a:r>
            <a:r>
              <a:rPr lang="en-US" altLang="en-US" dirty="0">
                <a:latin typeface="Permanent Marker" panose="02000000000000000000" pitchFamily="2" charset="0"/>
                <a:ea typeface="Permanent Marker" panose="02000000000000000000" pitchFamily="2" charset="0"/>
              </a:rPr>
              <a:t>5 business days of being signed by patient, </a:t>
            </a:r>
            <a:r>
              <a:rPr lang="en-US" altLang="en-US" dirty="0" smtClean="0">
                <a:latin typeface="Permanent Marker" panose="02000000000000000000" pitchFamily="2" charset="0"/>
                <a:ea typeface="Permanent Marker" panose="02000000000000000000" pitchFamily="2" charset="0"/>
              </a:rPr>
              <a:t>remains </a:t>
            </a:r>
            <a:r>
              <a:rPr lang="en-US" altLang="en-US" dirty="0">
                <a:latin typeface="Permanent Marker" panose="02000000000000000000" pitchFamily="2" charset="0"/>
                <a:ea typeface="Permanent Marker" panose="02000000000000000000" pitchFamily="2" charset="0"/>
              </a:rPr>
              <a:t>valid for 24 months from the date signed</a:t>
            </a:r>
          </a:p>
        </p:txBody>
      </p:sp>
      <p:sp>
        <p:nvSpPr>
          <p:cNvPr id="9" name="Rectangle 8"/>
          <p:cNvSpPr/>
          <p:nvPr/>
        </p:nvSpPr>
        <p:spPr>
          <a:xfrm rot="423130">
            <a:off x="5814505" y="4829728"/>
            <a:ext cx="2164209" cy="1754326"/>
          </a:xfrm>
          <a:prstGeom prst="rect">
            <a:avLst/>
          </a:prstGeom>
          <a:solidFill>
            <a:schemeClr val="accent4">
              <a:lumMod val="40000"/>
              <a:lumOff val="60000"/>
            </a:schemeClr>
          </a:solidFill>
          <a:effectLst>
            <a:outerShdw blurRad="50800" dist="38100" dir="5400000" algn="t" rotWithShape="0">
              <a:prstClr val="black">
                <a:alpha val="40000"/>
              </a:prstClr>
            </a:outerShdw>
          </a:effectLst>
        </p:spPr>
        <p:txBody>
          <a:bodyPr wrap="square">
            <a:spAutoFit/>
          </a:bodyPr>
          <a:lstStyle/>
          <a:p>
            <a:r>
              <a:rPr lang="en-US" altLang="en-US" dirty="0">
                <a:latin typeface="Permanent Marker" panose="02000000000000000000" pitchFamily="2" charset="0"/>
                <a:ea typeface="Permanent Marker" panose="02000000000000000000" pitchFamily="2" charset="0"/>
              </a:rPr>
              <a:t>Participants may renew their consent after it expires if they still need assistance</a:t>
            </a:r>
          </a:p>
        </p:txBody>
      </p:sp>
    </p:spTree>
    <p:extLst>
      <p:ext uri="{BB962C8B-B14F-4D97-AF65-F5344CB8AC3E}">
        <p14:creationId xmlns:p14="http://schemas.microsoft.com/office/powerpoint/2010/main" val="259713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down)">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p:cTn id="29" dur="500" fill="hold"/>
                                        <p:tgtEl>
                                          <p:spTgt spid="8"/>
                                        </p:tgtEl>
                                        <p:attrNameLst>
                                          <p:attrName>ppt_w</p:attrName>
                                        </p:attrNameLst>
                                      </p:cBhvr>
                                      <p:tavLst>
                                        <p:tav tm="0">
                                          <p:val>
                                            <p:fltVal val="0"/>
                                          </p:val>
                                        </p:tav>
                                        <p:tav tm="100000">
                                          <p:val>
                                            <p:strVal val="#ppt_w"/>
                                          </p:val>
                                        </p:tav>
                                      </p:tavLst>
                                    </p:anim>
                                    <p:anim calcmode="lin" valueType="num">
                                      <p:cBhvr>
                                        <p:cTn id="30" dur="500" fill="hold"/>
                                        <p:tgtEl>
                                          <p:spTgt spid="8"/>
                                        </p:tgtEl>
                                        <p:attrNameLst>
                                          <p:attrName>ppt_h</p:attrName>
                                        </p:attrNameLst>
                                      </p:cBhvr>
                                      <p:tavLst>
                                        <p:tav tm="0">
                                          <p:val>
                                            <p:fltVal val="0"/>
                                          </p:val>
                                        </p:tav>
                                        <p:tav tm="100000">
                                          <p:val>
                                            <p:strVal val="#ppt_h"/>
                                          </p:val>
                                        </p:tav>
                                      </p:tavLst>
                                    </p:anim>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grpId="0" nodeType="clickEffect">
                                  <p:stCondLst>
                                    <p:cond delay="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fltVal val="0"/>
                                          </p:val>
                                        </p:tav>
                                        <p:tav tm="100000">
                                          <p:val>
                                            <p:strVal val="#ppt_w"/>
                                          </p:val>
                                        </p:tav>
                                      </p:tavLst>
                                    </p:anim>
                                    <p:anim calcmode="lin" valueType="num">
                                      <p:cBhvr>
                                        <p:cTn id="37" dur="500" fill="hold"/>
                                        <p:tgtEl>
                                          <p:spTgt spid="9"/>
                                        </p:tgtEl>
                                        <p:attrNameLst>
                                          <p:attrName>ppt_h</p:attrName>
                                        </p:attrNameLst>
                                      </p:cBhvr>
                                      <p:tavLst>
                                        <p:tav tm="0">
                                          <p:val>
                                            <p:fltVal val="0"/>
                                          </p:val>
                                        </p:tav>
                                        <p:tav tm="100000">
                                          <p:val>
                                            <p:strVal val="#ppt_h"/>
                                          </p:val>
                                        </p:tav>
                                      </p:tavLst>
                                    </p:anim>
                                    <p:animEffect transition="in" filter="fade">
                                      <p:cBhvr>
                                        <p:cTn id="3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8" grpId="0" animBg="1"/>
      <p:bldP spid="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43170" y="0"/>
            <a:ext cx="5257659" cy="6858000"/>
          </a:xfrm>
          <a:prstGeom prst="rect">
            <a:avLst/>
          </a:prstGeom>
        </p:spPr>
      </p:pic>
    </p:spTree>
    <p:extLst>
      <p:ext uri="{BB962C8B-B14F-4D97-AF65-F5344CB8AC3E}">
        <p14:creationId xmlns:p14="http://schemas.microsoft.com/office/powerpoint/2010/main" val="20544209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5"/>
          <p:cNvSpPr txBox="1">
            <a:spLocks noChangeArrowheads="1"/>
          </p:cNvSpPr>
          <p:nvPr/>
        </p:nvSpPr>
        <p:spPr bwMode="auto">
          <a:xfrm>
            <a:off x="304800" y="974725"/>
            <a:ext cx="1219200" cy="176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50000"/>
              </a:spcBef>
              <a:buFontTx/>
              <a:buNone/>
            </a:pPr>
            <a:r>
              <a:rPr lang="en-US" altLang="en-US" sz="11000" dirty="0" smtClean="0">
                <a:solidFill>
                  <a:schemeClr val="accent2"/>
                </a:solidFill>
                <a:latin typeface="Roboto" panose="02000000000000000000" pitchFamily="2" charset="0"/>
                <a:ea typeface="Roboto" panose="02000000000000000000" pitchFamily="2" charset="0"/>
                <a:cs typeface="Roboto" panose="02000000000000000000" pitchFamily="2" charset="0"/>
              </a:rPr>
              <a:t>1</a:t>
            </a:r>
            <a:endParaRPr lang="en-US" altLang="en-US" sz="11000" dirty="0">
              <a:solidFill>
                <a:schemeClr val="accent2"/>
              </a:solidFill>
              <a:latin typeface="Roboto" panose="02000000000000000000" pitchFamily="2" charset="0"/>
              <a:ea typeface="Roboto" panose="02000000000000000000" pitchFamily="2" charset="0"/>
              <a:cs typeface="Roboto" panose="02000000000000000000" pitchFamily="2" charset="0"/>
            </a:endParaRPr>
          </a:p>
        </p:txBody>
      </p:sp>
      <p:sp>
        <p:nvSpPr>
          <p:cNvPr id="49155" name="Text Box 6"/>
          <p:cNvSpPr txBox="1">
            <a:spLocks noChangeArrowheads="1"/>
          </p:cNvSpPr>
          <p:nvPr/>
        </p:nvSpPr>
        <p:spPr bwMode="auto">
          <a:xfrm>
            <a:off x="152400" y="212725"/>
            <a:ext cx="89154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50000"/>
              </a:spcBef>
              <a:buFontTx/>
              <a:buNone/>
            </a:pPr>
            <a:r>
              <a:rPr lang="en-US" altLang="en-US" sz="4400" dirty="0">
                <a:latin typeface="Roboto" panose="02000000000000000000" pitchFamily="2" charset="0"/>
                <a:ea typeface="Roboto" panose="02000000000000000000" pitchFamily="2" charset="0"/>
                <a:cs typeface="Roboto" panose="02000000000000000000" pitchFamily="2" charset="0"/>
              </a:rPr>
              <a:t>Health Network Enrollment Criteria</a:t>
            </a:r>
          </a:p>
        </p:txBody>
      </p:sp>
      <p:sp>
        <p:nvSpPr>
          <p:cNvPr id="49156" name="Text Box 8"/>
          <p:cNvSpPr txBox="1">
            <a:spLocks noChangeArrowheads="1"/>
          </p:cNvSpPr>
          <p:nvPr/>
        </p:nvSpPr>
        <p:spPr bwMode="auto">
          <a:xfrm>
            <a:off x="2514600" y="1676400"/>
            <a:ext cx="6629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50000"/>
              </a:spcBef>
              <a:buFontTx/>
              <a:buNone/>
            </a:pPr>
            <a:endParaRPr lang="en-US" altLang="en-US" sz="1800" dirty="0">
              <a:latin typeface="Arial" charset="0"/>
            </a:endParaRPr>
          </a:p>
        </p:txBody>
      </p:sp>
      <p:sp>
        <p:nvSpPr>
          <p:cNvPr id="330761" name="Text Box 9"/>
          <p:cNvSpPr txBox="1">
            <a:spLocks noChangeArrowheads="1"/>
          </p:cNvSpPr>
          <p:nvPr/>
        </p:nvSpPr>
        <p:spPr bwMode="auto">
          <a:xfrm>
            <a:off x="1235075" y="1173163"/>
            <a:ext cx="4724400"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06400" indent="-40640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800" b="1" dirty="0">
                <a:latin typeface="Roboto" panose="02000000000000000000" pitchFamily="2" charset="0"/>
                <a:ea typeface="Roboto" panose="02000000000000000000" pitchFamily="2" charset="0"/>
                <a:cs typeface="Roboto" panose="02000000000000000000" pitchFamily="2" charset="0"/>
              </a:rPr>
              <a:t>Patient is</a:t>
            </a:r>
            <a:r>
              <a:rPr lang="en-US" altLang="en-US" sz="2800" dirty="0">
                <a:latin typeface="Roboto" panose="02000000000000000000" pitchFamily="2" charset="0"/>
                <a:ea typeface="Roboto" panose="02000000000000000000" pitchFamily="2" charset="0"/>
                <a:cs typeface="Roboto" panose="02000000000000000000" pitchFamily="2" charset="0"/>
              </a:rPr>
              <a:t>:</a:t>
            </a:r>
          </a:p>
          <a:p>
            <a:pPr eaLnBrk="1" hangingPunct="1">
              <a:spcBef>
                <a:spcPct val="0"/>
              </a:spcBef>
              <a:buFontTx/>
              <a:buChar char="•"/>
            </a:pPr>
            <a:r>
              <a:rPr lang="en-US" altLang="en-US" sz="2800" dirty="0">
                <a:latin typeface="Roboto" panose="02000000000000000000" pitchFamily="2" charset="0"/>
                <a:ea typeface="Roboto" panose="02000000000000000000" pitchFamily="2" charset="0"/>
                <a:cs typeface="Roboto" panose="02000000000000000000" pitchFamily="2" charset="0"/>
              </a:rPr>
              <a:t>Already mobile OR</a:t>
            </a:r>
          </a:p>
          <a:p>
            <a:pPr eaLnBrk="1" hangingPunct="1">
              <a:spcBef>
                <a:spcPct val="0"/>
              </a:spcBef>
              <a:buFontTx/>
              <a:buChar char="•"/>
            </a:pPr>
            <a:r>
              <a:rPr lang="en-US" altLang="en-US" sz="2800" dirty="0">
                <a:latin typeface="Roboto" panose="02000000000000000000" pitchFamily="2" charset="0"/>
                <a:ea typeface="Roboto" panose="02000000000000000000" pitchFamily="2" charset="0"/>
                <a:cs typeface="Roboto" panose="02000000000000000000" pitchFamily="2" charset="0"/>
              </a:rPr>
              <a:t>Likely to move</a:t>
            </a:r>
          </a:p>
        </p:txBody>
      </p:sp>
      <p:sp>
        <p:nvSpPr>
          <p:cNvPr id="49158" name="Rectangle 12"/>
          <p:cNvSpPr>
            <a:spLocks noChangeArrowheads="1"/>
          </p:cNvSpPr>
          <p:nvPr/>
        </p:nvSpPr>
        <p:spPr bwMode="auto">
          <a:xfrm>
            <a:off x="1042751" y="2724760"/>
            <a:ext cx="976549" cy="1785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1000" dirty="0">
                <a:solidFill>
                  <a:schemeClr val="accent2"/>
                </a:solidFill>
                <a:latin typeface="Roboto" panose="02000000000000000000" pitchFamily="2" charset="0"/>
                <a:ea typeface="Roboto" panose="02000000000000000000" pitchFamily="2" charset="0"/>
                <a:cs typeface="Roboto" panose="02000000000000000000" pitchFamily="2" charset="0"/>
              </a:rPr>
              <a:t>2</a:t>
            </a:r>
          </a:p>
        </p:txBody>
      </p:sp>
      <p:sp>
        <p:nvSpPr>
          <p:cNvPr id="330765" name="Text Box 13"/>
          <p:cNvSpPr txBox="1">
            <a:spLocks noChangeArrowheads="1"/>
          </p:cNvSpPr>
          <p:nvPr/>
        </p:nvSpPr>
        <p:spPr bwMode="auto">
          <a:xfrm>
            <a:off x="2019300" y="3140258"/>
            <a:ext cx="68580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71500" indent="-57150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0" indent="0" eaLnBrk="1" hangingPunct="1">
              <a:spcBef>
                <a:spcPct val="0"/>
              </a:spcBef>
              <a:buFontTx/>
              <a:buNone/>
            </a:pPr>
            <a:r>
              <a:rPr lang="en-US" altLang="en-US" sz="2800" dirty="0">
                <a:latin typeface="Roboto" panose="02000000000000000000" pitchFamily="2" charset="0"/>
                <a:ea typeface="Roboto" panose="02000000000000000000" pitchFamily="2" charset="0"/>
                <a:cs typeface="Roboto" panose="02000000000000000000" pitchFamily="2" charset="0"/>
              </a:rPr>
              <a:t>Patient </a:t>
            </a:r>
            <a:r>
              <a:rPr lang="en-US" altLang="en-US" sz="2800" dirty="0" smtClean="0">
                <a:latin typeface="Roboto" panose="02000000000000000000" pitchFamily="2" charset="0"/>
                <a:ea typeface="Roboto" panose="02000000000000000000" pitchFamily="2" charset="0"/>
                <a:cs typeface="Roboto" panose="02000000000000000000" pitchFamily="2" charset="0"/>
              </a:rPr>
              <a:t>is in </a:t>
            </a:r>
            <a:r>
              <a:rPr lang="en-US" altLang="en-US" sz="2800" dirty="0">
                <a:latin typeface="Roboto" panose="02000000000000000000" pitchFamily="2" charset="0"/>
                <a:ea typeface="Roboto" panose="02000000000000000000" pitchFamily="2" charset="0"/>
                <a:cs typeface="Roboto" panose="02000000000000000000" pitchFamily="2" charset="0"/>
              </a:rPr>
              <a:t>need of a clinic for follow-up of </a:t>
            </a:r>
            <a:r>
              <a:rPr lang="en-US" altLang="en-US" sz="2800" b="1" dirty="0">
                <a:latin typeface="Roboto" panose="02000000000000000000" pitchFamily="2" charset="0"/>
                <a:ea typeface="Roboto" panose="02000000000000000000" pitchFamily="2" charset="0"/>
                <a:cs typeface="Roboto" panose="02000000000000000000" pitchFamily="2" charset="0"/>
              </a:rPr>
              <a:t>ANY</a:t>
            </a:r>
            <a:r>
              <a:rPr lang="en-US" altLang="en-US" sz="2800" dirty="0">
                <a:latin typeface="Roboto" panose="02000000000000000000" pitchFamily="2" charset="0"/>
                <a:ea typeface="Roboto" panose="02000000000000000000" pitchFamily="2" charset="0"/>
                <a:cs typeface="Roboto" panose="02000000000000000000" pitchFamily="2" charset="0"/>
              </a:rPr>
              <a:t> health </a:t>
            </a:r>
            <a:r>
              <a:rPr lang="en-US" altLang="en-US" sz="2800" dirty="0" smtClean="0">
                <a:latin typeface="Roboto" panose="02000000000000000000" pitchFamily="2" charset="0"/>
                <a:ea typeface="Roboto" panose="02000000000000000000" pitchFamily="2" charset="0"/>
                <a:cs typeface="Roboto" panose="02000000000000000000" pitchFamily="2" charset="0"/>
              </a:rPr>
              <a:t>condition</a:t>
            </a:r>
            <a:endParaRPr lang="en-US" altLang="en-US" sz="2800" dirty="0">
              <a:latin typeface="Roboto" panose="02000000000000000000" pitchFamily="2" charset="0"/>
              <a:ea typeface="Roboto" panose="02000000000000000000" pitchFamily="2" charset="0"/>
              <a:cs typeface="Roboto" panose="02000000000000000000" pitchFamily="2" charset="0"/>
            </a:endParaRPr>
          </a:p>
        </p:txBody>
      </p:sp>
      <p:sp>
        <p:nvSpPr>
          <p:cNvPr id="49160" name="Rectangle 2"/>
          <p:cNvSpPr>
            <a:spLocks noChangeArrowheads="1"/>
          </p:cNvSpPr>
          <p:nvPr/>
        </p:nvSpPr>
        <p:spPr bwMode="auto">
          <a:xfrm>
            <a:off x="1905000" y="4543425"/>
            <a:ext cx="966788"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9600" dirty="0">
                <a:solidFill>
                  <a:schemeClr val="accent2"/>
                </a:solidFill>
                <a:latin typeface="Roboto" panose="02000000000000000000" pitchFamily="2" charset="0"/>
                <a:ea typeface="Roboto" panose="02000000000000000000" pitchFamily="2" charset="0"/>
                <a:cs typeface="Roboto" panose="02000000000000000000" pitchFamily="2" charset="0"/>
              </a:rPr>
              <a:t>3</a:t>
            </a:r>
          </a:p>
        </p:txBody>
      </p:sp>
      <p:sp>
        <p:nvSpPr>
          <p:cNvPr id="4" name="TextBox 3"/>
          <p:cNvSpPr txBox="1">
            <a:spLocks noChangeArrowheads="1"/>
          </p:cNvSpPr>
          <p:nvPr/>
        </p:nvSpPr>
        <p:spPr bwMode="auto">
          <a:xfrm>
            <a:off x="2895600" y="4781550"/>
            <a:ext cx="6067425"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800" b="1" dirty="0">
                <a:latin typeface="Roboto" panose="02000000000000000000" pitchFamily="2" charset="0"/>
                <a:ea typeface="Roboto" panose="02000000000000000000" pitchFamily="2" charset="0"/>
                <a:cs typeface="Roboto" panose="02000000000000000000" pitchFamily="2" charset="0"/>
              </a:rPr>
              <a:t>Clinic Must</a:t>
            </a:r>
            <a:r>
              <a:rPr lang="en-US" altLang="en-US" sz="2800" dirty="0">
                <a:latin typeface="Roboto" panose="02000000000000000000" pitchFamily="2" charset="0"/>
                <a:ea typeface="Roboto" panose="02000000000000000000" pitchFamily="2" charset="0"/>
                <a:cs typeface="Roboto" panose="02000000000000000000" pitchFamily="2" charset="0"/>
              </a:rPr>
              <a:t>:</a:t>
            </a:r>
          </a:p>
          <a:p>
            <a:pPr marL="346075" indent="-346075" eaLnBrk="1" hangingPunct="1">
              <a:spcBef>
                <a:spcPct val="0"/>
              </a:spcBef>
              <a:buFontTx/>
              <a:buChar char="•"/>
            </a:pPr>
            <a:r>
              <a:rPr lang="en-US" altLang="en-US" sz="2800" dirty="0" smtClean="0">
                <a:latin typeface="Roboto" panose="02000000000000000000" pitchFamily="2" charset="0"/>
                <a:ea typeface="Roboto" panose="02000000000000000000" pitchFamily="2" charset="0"/>
                <a:cs typeface="Roboto" panose="02000000000000000000" pitchFamily="2" charset="0"/>
              </a:rPr>
              <a:t>Complete </a:t>
            </a:r>
            <a:r>
              <a:rPr lang="en-US" altLang="en-US" sz="2800" dirty="0">
                <a:latin typeface="Roboto" panose="02000000000000000000" pitchFamily="2" charset="0"/>
                <a:ea typeface="Roboto" panose="02000000000000000000" pitchFamily="2" charset="0"/>
                <a:cs typeface="Roboto" panose="02000000000000000000" pitchFamily="2" charset="0"/>
              </a:rPr>
              <a:t>Enrollment Registration</a:t>
            </a:r>
          </a:p>
          <a:p>
            <a:pPr marL="346075" indent="-346075" eaLnBrk="1" hangingPunct="1">
              <a:spcBef>
                <a:spcPct val="0"/>
              </a:spcBef>
              <a:buFontTx/>
              <a:buChar char="•"/>
            </a:pPr>
            <a:r>
              <a:rPr lang="en-US" altLang="en-US" sz="2800" dirty="0">
                <a:latin typeface="Roboto" panose="02000000000000000000" pitchFamily="2" charset="0"/>
                <a:ea typeface="Roboto" panose="02000000000000000000" pitchFamily="2" charset="0"/>
                <a:cs typeface="Roboto" panose="02000000000000000000" pitchFamily="2" charset="0"/>
              </a:rPr>
              <a:t>Have patient sign Consent/Send</a:t>
            </a:r>
          </a:p>
          <a:p>
            <a:pPr marL="346075" indent="-346075" eaLnBrk="1" hangingPunct="1">
              <a:spcBef>
                <a:spcPct val="0"/>
              </a:spcBef>
              <a:buFontTx/>
              <a:buChar char="•"/>
            </a:pPr>
            <a:r>
              <a:rPr lang="en-US" altLang="en-US" sz="2800" dirty="0">
                <a:latin typeface="Roboto" panose="02000000000000000000" pitchFamily="2" charset="0"/>
                <a:ea typeface="Roboto" panose="02000000000000000000" pitchFamily="2" charset="0"/>
                <a:cs typeface="Roboto" panose="02000000000000000000" pitchFamily="2" charset="0"/>
              </a:rPr>
              <a:t>Send Medical Records</a:t>
            </a:r>
          </a:p>
        </p:txBody>
      </p:sp>
    </p:spTree>
    <p:custDataLst>
      <p:tags r:id="rId1"/>
    </p:custDataLst>
    <p:extLst>
      <p:ext uri="{BB962C8B-B14F-4D97-AF65-F5344CB8AC3E}">
        <p14:creationId xmlns:p14="http://schemas.microsoft.com/office/powerpoint/2010/main" val="286195195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330761"/>
                                        </p:tgtEl>
                                        <p:attrNameLst>
                                          <p:attrName>style.visibility</p:attrName>
                                        </p:attrNameLst>
                                      </p:cBhvr>
                                      <p:to>
                                        <p:strVal val="visible"/>
                                      </p:to>
                                    </p:set>
                                    <p:animEffect transition="in" filter="checkerboard(across)">
                                      <p:cBhvr>
                                        <p:cTn id="7" dur="500"/>
                                        <p:tgtEl>
                                          <p:spTgt spid="33076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330765"/>
                                        </p:tgtEl>
                                        <p:attrNameLst>
                                          <p:attrName>style.visibility</p:attrName>
                                        </p:attrNameLst>
                                      </p:cBhvr>
                                      <p:to>
                                        <p:strVal val="visible"/>
                                      </p:to>
                                    </p:set>
                                    <p:animEffect transition="in" filter="checkerboard(across)">
                                      <p:cBhvr>
                                        <p:cTn id="12" dur="500"/>
                                        <p:tgtEl>
                                          <p:spTgt spid="33076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5" presetClass="entr" presetSubtype="10" fill="hold"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animEffect transition="in" filter="checkerboard(across)">
                                      <p:cBhvr>
                                        <p:cTn id="17" dur="500"/>
                                        <p:tgtEl>
                                          <p:spTgt spid="4">
                                            <p:txEl>
                                              <p:pRg st="0" end="0"/>
                                            </p:txEl>
                                          </p:spTgt>
                                        </p:tgtEl>
                                      </p:cBhvr>
                                    </p:animEffect>
                                  </p:childTnLst>
                                </p:cTn>
                              </p:par>
                              <p:par>
                                <p:cTn id="18" presetID="5" presetClass="entr" presetSubtype="10" fill="hold" nodeType="withEffect">
                                  <p:stCondLst>
                                    <p:cond delay="0"/>
                                  </p:stCondLst>
                                  <p:childTnLst>
                                    <p:set>
                                      <p:cBhvr>
                                        <p:cTn id="19" dur="1" fill="hold">
                                          <p:stCondLst>
                                            <p:cond delay="0"/>
                                          </p:stCondLst>
                                        </p:cTn>
                                        <p:tgtEl>
                                          <p:spTgt spid="4">
                                            <p:txEl>
                                              <p:pRg st="1" end="1"/>
                                            </p:txEl>
                                          </p:spTgt>
                                        </p:tgtEl>
                                        <p:attrNameLst>
                                          <p:attrName>style.visibility</p:attrName>
                                        </p:attrNameLst>
                                      </p:cBhvr>
                                      <p:to>
                                        <p:strVal val="visible"/>
                                      </p:to>
                                    </p:set>
                                    <p:animEffect transition="in" filter="checkerboard(across)">
                                      <p:cBhvr>
                                        <p:cTn id="20" dur="500"/>
                                        <p:tgtEl>
                                          <p:spTgt spid="4">
                                            <p:txEl>
                                              <p:pRg st="1" end="1"/>
                                            </p:txEl>
                                          </p:spTgt>
                                        </p:tgtEl>
                                      </p:cBhvr>
                                    </p:animEffect>
                                  </p:childTnLst>
                                </p:cTn>
                              </p:par>
                              <p:par>
                                <p:cTn id="21" presetID="5" presetClass="entr" presetSubtype="10" fill="hold" nodeType="with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checkerboard(across)">
                                      <p:cBhvr>
                                        <p:cTn id="23" dur="500"/>
                                        <p:tgtEl>
                                          <p:spTgt spid="4">
                                            <p:txEl>
                                              <p:pRg st="2" end="2"/>
                                            </p:txEl>
                                          </p:spTgt>
                                        </p:tgtEl>
                                      </p:cBhvr>
                                    </p:animEffect>
                                  </p:childTnLst>
                                </p:cTn>
                              </p:par>
                              <p:par>
                                <p:cTn id="24" presetID="5" presetClass="entr" presetSubtype="10" fill="hold" nodeType="withEffect">
                                  <p:stCondLst>
                                    <p:cond delay="0"/>
                                  </p:stCondLst>
                                  <p:childTnLst>
                                    <p:set>
                                      <p:cBhvr>
                                        <p:cTn id="25" dur="1" fill="hold">
                                          <p:stCondLst>
                                            <p:cond delay="0"/>
                                          </p:stCondLst>
                                        </p:cTn>
                                        <p:tgtEl>
                                          <p:spTgt spid="4">
                                            <p:txEl>
                                              <p:pRg st="3" end="3"/>
                                            </p:txEl>
                                          </p:spTgt>
                                        </p:tgtEl>
                                        <p:attrNameLst>
                                          <p:attrName>style.visibility</p:attrName>
                                        </p:attrNameLst>
                                      </p:cBhvr>
                                      <p:to>
                                        <p:strVal val="visible"/>
                                      </p:to>
                                    </p:set>
                                    <p:animEffect transition="in" filter="checkerboard(across)">
                                      <p:cBhvr>
                                        <p:cTn id="26"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0761" grpId="0"/>
      <p:bldP spid="33076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451232" y="1"/>
            <a:ext cx="4729779"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txBox="1">
            <a:spLocks noChangeArrowheads="1"/>
          </p:cNvSpPr>
          <p:nvPr/>
        </p:nvSpPr>
        <p:spPr>
          <a:xfrm>
            <a:off x="152400" y="1447800"/>
            <a:ext cx="4114800" cy="1143000"/>
          </a:xfrm>
          <a:prstGeom prst="rect">
            <a:avLst/>
          </a:prstGeom>
        </p:spPr>
        <p:txBody>
          <a:bodyPr rtlCol="0">
            <a:noAutofit/>
          </a:bodyPr>
          <a:lstStyle>
            <a:lvl1pPr algn="ctr" defTabSz="914400" rtl="0" eaLnBrk="1" latinLnBrk="0" hangingPunct="1">
              <a:spcBef>
                <a:spcPct val="0"/>
              </a:spcBef>
              <a:buNone/>
              <a:defRPr sz="4400" b="0" i="0" u="none" kern="12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a:defRPr/>
            </a:pPr>
            <a:r>
              <a:rPr lang="en-US" sz="4800" dirty="0" smtClean="0"/>
              <a:t>Health Network Maintaining a Patient in Care</a:t>
            </a:r>
          </a:p>
        </p:txBody>
      </p:sp>
    </p:spTree>
    <p:extLst>
      <p:ext uri="{BB962C8B-B14F-4D97-AF65-F5344CB8AC3E}">
        <p14:creationId xmlns:p14="http://schemas.microsoft.com/office/powerpoint/2010/main" val="15584720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ChangeArrowheads="1"/>
          </p:cNvSpPr>
          <p:nvPr/>
        </p:nvSpPr>
        <p:spPr bwMode="auto">
          <a:xfrm>
            <a:off x="0" y="0"/>
            <a:ext cx="9144000" cy="6858000"/>
          </a:xfrm>
          <a:prstGeom prst="rect">
            <a:avLst/>
          </a:prstGeom>
          <a:gradFill rotWithShape="1">
            <a:gsLst>
              <a:gs pos="0">
                <a:schemeClr val="hlink"/>
              </a:gs>
              <a:gs pos="100000">
                <a:srgbClr val="68B0E6"/>
              </a:gs>
            </a:gsLst>
            <a:lin ang="27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400" b="1">
                <a:solidFill>
                  <a:schemeClr val="bg1"/>
                </a:solidFill>
                <a:latin typeface="Arial" panose="020B0604020202020204" pitchFamily="34" charset="0"/>
                <a:ea typeface="MS PGothic" panose="020B0600070205080204" pitchFamily="34" charset="-128"/>
              </a:defRPr>
            </a:lvl1pPr>
            <a:lvl2pPr marL="742950" indent="-285750">
              <a:defRPr sz="1400" b="1">
                <a:solidFill>
                  <a:schemeClr val="bg1"/>
                </a:solidFill>
                <a:latin typeface="Arial" panose="020B0604020202020204" pitchFamily="34" charset="0"/>
                <a:ea typeface="MS PGothic" panose="020B0600070205080204" pitchFamily="34" charset="-128"/>
              </a:defRPr>
            </a:lvl2pPr>
            <a:lvl3pPr marL="1143000" indent="-228600">
              <a:defRPr sz="1400" b="1">
                <a:solidFill>
                  <a:schemeClr val="bg1"/>
                </a:solidFill>
                <a:latin typeface="Arial" panose="020B0604020202020204" pitchFamily="34" charset="0"/>
                <a:ea typeface="MS PGothic" panose="020B0600070205080204" pitchFamily="34" charset="-128"/>
              </a:defRPr>
            </a:lvl3pPr>
            <a:lvl4pPr marL="1600200" indent="-228600">
              <a:defRPr sz="1400" b="1">
                <a:solidFill>
                  <a:schemeClr val="bg1"/>
                </a:solidFill>
                <a:latin typeface="Arial" panose="020B0604020202020204" pitchFamily="34" charset="0"/>
                <a:ea typeface="MS PGothic" panose="020B0600070205080204" pitchFamily="34" charset="-128"/>
              </a:defRPr>
            </a:lvl4pPr>
            <a:lvl5pPr marL="2057400" indent="-228600">
              <a:defRPr sz="1400" b="1">
                <a:solidFill>
                  <a:schemeClr val="bg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400" b="1">
                <a:solidFill>
                  <a:schemeClr val="bg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400" b="1">
                <a:solidFill>
                  <a:schemeClr val="bg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400" b="1">
                <a:solidFill>
                  <a:schemeClr val="bg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400" b="1">
                <a:solidFill>
                  <a:schemeClr val="bg1"/>
                </a:solidFill>
                <a:latin typeface="Arial" panose="020B0604020202020204" pitchFamily="34" charset="0"/>
                <a:ea typeface="MS PGothic" panose="020B0600070205080204" pitchFamily="34" charset="-128"/>
              </a:defRPr>
            </a:lvl9pPr>
          </a:lstStyle>
          <a:p>
            <a:pPr algn="ctr">
              <a:spcBef>
                <a:spcPct val="15000"/>
              </a:spcBef>
            </a:pPr>
            <a:endParaRPr lang="en-US" altLang="en-US">
              <a:solidFill>
                <a:prstClr val="white"/>
              </a:solidFill>
            </a:endParaRPr>
          </a:p>
        </p:txBody>
      </p:sp>
      <p:grpSp>
        <p:nvGrpSpPr>
          <p:cNvPr id="10243" name="Group 10"/>
          <p:cNvGrpSpPr>
            <a:grpSpLocks/>
          </p:cNvGrpSpPr>
          <p:nvPr/>
        </p:nvGrpSpPr>
        <p:grpSpPr bwMode="auto">
          <a:xfrm>
            <a:off x="0" y="1147763"/>
            <a:ext cx="8943975" cy="4838700"/>
            <a:chOff x="0" y="723"/>
            <a:chExt cx="5634" cy="3048"/>
          </a:xfrm>
        </p:grpSpPr>
        <p:sp>
          <p:nvSpPr>
            <p:cNvPr id="10244" name="Freeform 6"/>
            <p:cNvSpPr>
              <a:spLocks noChangeAspect="1" noEditPoints="1"/>
            </p:cNvSpPr>
            <p:nvPr/>
          </p:nvSpPr>
          <p:spPr bwMode="auto">
            <a:xfrm>
              <a:off x="2433" y="723"/>
              <a:ext cx="3201" cy="2883"/>
            </a:xfrm>
            <a:custGeom>
              <a:avLst/>
              <a:gdLst>
                <a:gd name="T0" fmla="*/ 3199 w 3062"/>
                <a:gd name="T1" fmla="*/ 2916 h 2758"/>
                <a:gd name="T2" fmla="*/ 3131 w 3062"/>
                <a:gd name="T3" fmla="*/ 2781 h 2758"/>
                <a:gd name="T4" fmla="*/ 3250 w 3062"/>
                <a:gd name="T5" fmla="*/ 2698 h 2758"/>
                <a:gd name="T6" fmla="*/ 3210 w 3062"/>
                <a:gd name="T7" fmla="*/ 2568 h 2758"/>
                <a:gd name="T8" fmla="*/ 4355 w 3062"/>
                <a:gd name="T9" fmla="*/ 629 h 2758"/>
                <a:gd name="T10" fmla="*/ 3688 w 3062"/>
                <a:gd name="T11" fmla="*/ 428 h 2758"/>
                <a:gd name="T12" fmla="*/ 3304 w 3062"/>
                <a:gd name="T13" fmla="*/ 358 h 2758"/>
                <a:gd name="T14" fmla="*/ 2996 w 3062"/>
                <a:gd name="T15" fmla="*/ 215 h 2758"/>
                <a:gd name="T16" fmla="*/ 2209 w 3062"/>
                <a:gd name="T17" fmla="*/ 448 h 2758"/>
                <a:gd name="T18" fmla="*/ 1961 w 3062"/>
                <a:gd name="T19" fmla="*/ 652 h 2758"/>
                <a:gd name="T20" fmla="*/ 1449 w 3062"/>
                <a:gd name="T21" fmla="*/ 783 h 2758"/>
                <a:gd name="T22" fmla="*/ 1257 w 3062"/>
                <a:gd name="T23" fmla="*/ 942 h 2758"/>
                <a:gd name="T24" fmla="*/ 1159 w 3062"/>
                <a:gd name="T25" fmla="*/ 629 h 2758"/>
                <a:gd name="T26" fmla="*/ 749 w 3062"/>
                <a:gd name="T27" fmla="*/ 721 h 2758"/>
                <a:gd name="T28" fmla="*/ 659 w 3062"/>
                <a:gd name="T29" fmla="*/ 1185 h 2758"/>
                <a:gd name="T30" fmla="*/ 799 w 3062"/>
                <a:gd name="T31" fmla="*/ 1111 h 2758"/>
                <a:gd name="T32" fmla="*/ 1050 w 3062"/>
                <a:gd name="T33" fmla="*/ 1140 h 2758"/>
                <a:gd name="T34" fmla="*/ 769 w 3062"/>
                <a:gd name="T35" fmla="*/ 1398 h 2758"/>
                <a:gd name="T36" fmla="*/ 602 w 3062"/>
                <a:gd name="T37" fmla="*/ 1405 h 2758"/>
                <a:gd name="T38" fmla="*/ 337 w 3062"/>
                <a:gd name="T39" fmla="*/ 1647 h 2758"/>
                <a:gd name="T40" fmla="*/ 244 w 3062"/>
                <a:gd name="T41" fmla="*/ 1970 h 2758"/>
                <a:gd name="T42" fmla="*/ 757 w 3062"/>
                <a:gd name="T43" fmla="*/ 1960 h 2758"/>
                <a:gd name="T44" fmla="*/ 850 w 3062"/>
                <a:gd name="T45" fmla="*/ 1876 h 2758"/>
                <a:gd name="T46" fmla="*/ 1114 w 3062"/>
                <a:gd name="T47" fmla="*/ 1982 h 2758"/>
                <a:gd name="T48" fmla="*/ 796 w 3062"/>
                <a:gd name="T49" fmla="*/ 2138 h 2758"/>
                <a:gd name="T50" fmla="*/ 283 w 3062"/>
                <a:gd name="T51" fmla="*/ 2017 h 2758"/>
                <a:gd name="T52" fmla="*/ 48 w 3062"/>
                <a:gd name="T53" fmla="*/ 2642 h 2758"/>
                <a:gd name="T54" fmla="*/ 583 w 3062"/>
                <a:gd name="T55" fmla="*/ 2798 h 2758"/>
                <a:gd name="T56" fmla="*/ 721 w 3062"/>
                <a:gd name="T57" fmla="*/ 3430 h 2758"/>
                <a:gd name="T58" fmla="*/ 1249 w 3062"/>
                <a:gd name="T59" fmla="*/ 3321 h 2758"/>
                <a:gd name="T60" fmla="*/ 1571 w 3062"/>
                <a:gd name="T61" fmla="*/ 2638 h 2758"/>
                <a:gd name="T62" fmla="*/ 1341 w 3062"/>
                <a:gd name="T63" fmla="*/ 2440 h 2758"/>
                <a:gd name="T64" fmla="*/ 1578 w 3062"/>
                <a:gd name="T65" fmla="*/ 2287 h 2758"/>
                <a:gd name="T66" fmla="*/ 2068 w 3062"/>
                <a:gd name="T67" fmla="*/ 2380 h 2758"/>
                <a:gd name="T68" fmla="*/ 2577 w 3062"/>
                <a:gd name="T69" fmla="*/ 2498 h 2758"/>
                <a:gd name="T70" fmla="*/ 2758 w 3062"/>
                <a:gd name="T71" fmla="*/ 2597 h 2758"/>
                <a:gd name="T72" fmla="*/ 3098 w 3062"/>
                <a:gd name="T73" fmla="*/ 2339 h 2758"/>
                <a:gd name="T74" fmla="*/ 3218 w 3062"/>
                <a:gd name="T75" fmla="*/ 1876 h 2758"/>
                <a:gd name="T76" fmla="*/ 3450 w 3062"/>
                <a:gd name="T77" fmla="*/ 1815 h 2758"/>
                <a:gd name="T78" fmla="*/ 3843 w 3062"/>
                <a:gd name="T79" fmla="*/ 1185 h 2758"/>
                <a:gd name="T80" fmla="*/ 4028 w 3062"/>
                <a:gd name="T81" fmla="*/ 1271 h 2758"/>
                <a:gd name="T82" fmla="*/ 4336 w 3062"/>
                <a:gd name="T83" fmla="*/ 1174 h 2758"/>
                <a:gd name="T84" fmla="*/ 1289 w 3062"/>
                <a:gd name="T85" fmla="*/ 1853 h 2758"/>
                <a:gd name="T86" fmla="*/ 1295 w 3062"/>
                <a:gd name="T87" fmla="*/ 1737 h 2758"/>
                <a:gd name="T88" fmla="*/ 1461 w 3062"/>
                <a:gd name="T89" fmla="*/ 1872 h 2758"/>
                <a:gd name="T90" fmla="*/ 1702 w 3062"/>
                <a:gd name="T91" fmla="*/ 391 h 2758"/>
                <a:gd name="T92" fmla="*/ 1613 w 3062"/>
                <a:gd name="T93" fmla="*/ 375 h 2758"/>
                <a:gd name="T94" fmla="*/ 178 w 3062"/>
                <a:gd name="T95" fmla="*/ 1468 h 2758"/>
                <a:gd name="T96" fmla="*/ 2703 w 3062"/>
                <a:gd name="T97" fmla="*/ 2894 h 2758"/>
                <a:gd name="T98" fmla="*/ 1536 w 3062"/>
                <a:gd name="T99" fmla="*/ 3189 h 2758"/>
                <a:gd name="T100" fmla="*/ 309 w 3062"/>
                <a:gd name="T101" fmla="*/ 1546 h 2758"/>
                <a:gd name="T102" fmla="*/ 307 w 3062"/>
                <a:gd name="T103" fmla="*/ 1254 h 2758"/>
                <a:gd name="T104" fmla="*/ 4445 w 3062"/>
                <a:gd name="T105" fmla="*/ 3933 h 2758"/>
                <a:gd name="T106" fmla="*/ 4294 w 3062"/>
                <a:gd name="T107" fmla="*/ 4108 h 2758"/>
                <a:gd name="T108" fmla="*/ 3444 w 3062"/>
                <a:gd name="T109" fmla="*/ 2076 h 2758"/>
                <a:gd name="T110" fmla="*/ 3629 w 3062"/>
                <a:gd name="T111" fmla="*/ 3082 h 2758"/>
                <a:gd name="T112" fmla="*/ 3458 w 3062"/>
                <a:gd name="T113" fmla="*/ 2901 h 2758"/>
                <a:gd name="T114" fmla="*/ 3554 w 3062"/>
                <a:gd name="T115" fmla="*/ 3186 h 2758"/>
                <a:gd name="T116" fmla="*/ 3061 w 3062"/>
                <a:gd name="T117" fmla="*/ 3647 h 2758"/>
                <a:gd name="T118" fmla="*/ 3794 w 3062"/>
                <a:gd name="T119" fmla="*/ 3861 h 2758"/>
                <a:gd name="T120" fmla="*/ 3690 w 3062"/>
                <a:gd name="T121" fmla="*/ 1421 h 2758"/>
                <a:gd name="T122" fmla="*/ 3709 w 3062"/>
                <a:gd name="T123" fmla="*/ 1826 h 2758"/>
                <a:gd name="T124" fmla="*/ 3590 w 3062"/>
                <a:gd name="T125" fmla="*/ 2026 h 27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062" h="2758">
                  <a:moveTo>
                    <a:pt x="1982" y="1630"/>
                  </a:moveTo>
                  <a:lnTo>
                    <a:pt x="1982" y="1630"/>
                  </a:lnTo>
                  <a:lnTo>
                    <a:pt x="1976" y="1628"/>
                  </a:lnTo>
                  <a:lnTo>
                    <a:pt x="1972" y="1630"/>
                  </a:lnTo>
                  <a:lnTo>
                    <a:pt x="1962" y="1640"/>
                  </a:lnTo>
                  <a:lnTo>
                    <a:pt x="1960" y="1644"/>
                  </a:lnTo>
                  <a:lnTo>
                    <a:pt x="1962" y="1650"/>
                  </a:lnTo>
                  <a:lnTo>
                    <a:pt x="1966" y="1652"/>
                  </a:lnTo>
                  <a:lnTo>
                    <a:pt x="1972" y="1650"/>
                  </a:lnTo>
                  <a:lnTo>
                    <a:pt x="1982" y="1640"/>
                  </a:lnTo>
                  <a:lnTo>
                    <a:pt x="1984" y="1634"/>
                  </a:lnTo>
                  <a:lnTo>
                    <a:pt x="1982" y="1630"/>
                  </a:lnTo>
                  <a:close/>
                  <a:moveTo>
                    <a:pt x="2112" y="1982"/>
                  </a:moveTo>
                  <a:lnTo>
                    <a:pt x="2112" y="1982"/>
                  </a:lnTo>
                  <a:lnTo>
                    <a:pt x="2116" y="1994"/>
                  </a:lnTo>
                  <a:lnTo>
                    <a:pt x="2120" y="2000"/>
                  </a:lnTo>
                  <a:lnTo>
                    <a:pt x="2122" y="2006"/>
                  </a:lnTo>
                  <a:lnTo>
                    <a:pt x="2122" y="2014"/>
                  </a:lnTo>
                  <a:lnTo>
                    <a:pt x="2122" y="2018"/>
                  </a:lnTo>
                  <a:lnTo>
                    <a:pt x="2124" y="2022"/>
                  </a:lnTo>
                  <a:lnTo>
                    <a:pt x="2126" y="2024"/>
                  </a:lnTo>
                  <a:lnTo>
                    <a:pt x="2128" y="2026"/>
                  </a:lnTo>
                  <a:lnTo>
                    <a:pt x="2130" y="2026"/>
                  </a:lnTo>
                  <a:lnTo>
                    <a:pt x="2134" y="2026"/>
                  </a:lnTo>
                  <a:lnTo>
                    <a:pt x="2140" y="2024"/>
                  </a:lnTo>
                  <a:lnTo>
                    <a:pt x="2142" y="2022"/>
                  </a:lnTo>
                  <a:lnTo>
                    <a:pt x="2142" y="2008"/>
                  </a:lnTo>
                  <a:lnTo>
                    <a:pt x="2142" y="1996"/>
                  </a:lnTo>
                  <a:lnTo>
                    <a:pt x="2144" y="1992"/>
                  </a:lnTo>
                  <a:lnTo>
                    <a:pt x="2146" y="1994"/>
                  </a:lnTo>
                  <a:lnTo>
                    <a:pt x="2148" y="2000"/>
                  </a:lnTo>
                  <a:lnTo>
                    <a:pt x="2158" y="2012"/>
                  </a:lnTo>
                  <a:lnTo>
                    <a:pt x="2166" y="2020"/>
                  </a:lnTo>
                  <a:lnTo>
                    <a:pt x="2172" y="2024"/>
                  </a:lnTo>
                  <a:lnTo>
                    <a:pt x="2180" y="2026"/>
                  </a:lnTo>
                  <a:lnTo>
                    <a:pt x="2184" y="2026"/>
                  </a:lnTo>
                  <a:lnTo>
                    <a:pt x="2186" y="2026"/>
                  </a:lnTo>
                  <a:lnTo>
                    <a:pt x="2188" y="2024"/>
                  </a:lnTo>
                  <a:lnTo>
                    <a:pt x="2190" y="2022"/>
                  </a:lnTo>
                  <a:lnTo>
                    <a:pt x="2188" y="2020"/>
                  </a:lnTo>
                  <a:lnTo>
                    <a:pt x="2186" y="2014"/>
                  </a:lnTo>
                  <a:lnTo>
                    <a:pt x="2176" y="2002"/>
                  </a:lnTo>
                  <a:lnTo>
                    <a:pt x="2168" y="1992"/>
                  </a:lnTo>
                  <a:lnTo>
                    <a:pt x="2166" y="1988"/>
                  </a:lnTo>
                  <a:lnTo>
                    <a:pt x="2166" y="1984"/>
                  </a:lnTo>
                  <a:lnTo>
                    <a:pt x="2168" y="1982"/>
                  </a:lnTo>
                  <a:lnTo>
                    <a:pt x="2178" y="1972"/>
                  </a:lnTo>
                  <a:lnTo>
                    <a:pt x="2180" y="1968"/>
                  </a:lnTo>
                  <a:lnTo>
                    <a:pt x="2182" y="1962"/>
                  </a:lnTo>
                  <a:lnTo>
                    <a:pt x="2180" y="1960"/>
                  </a:lnTo>
                  <a:lnTo>
                    <a:pt x="2174" y="1958"/>
                  </a:lnTo>
                  <a:lnTo>
                    <a:pt x="2150" y="1958"/>
                  </a:lnTo>
                  <a:lnTo>
                    <a:pt x="2148" y="1958"/>
                  </a:lnTo>
                  <a:lnTo>
                    <a:pt x="2146" y="1956"/>
                  </a:lnTo>
                  <a:lnTo>
                    <a:pt x="2146" y="1954"/>
                  </a:lnTo>
                  <a:lnTo>
                    <a:pt x="2146" y="1950"/>
                  </a:lnTo>
                  <a:lnTo>
                    <a:pt x="2148" y="1946"/>
                  </a:lnTo>
                  <a:lnTo>
                    <a:pt x="2158" y="1934"/>
                  </a:lnTo>
                  <a:lnTo>
                    <a:pt x="2158" y="1932"/>
                  </a:lnTo>
                  <a:lnTo>
                    <a:pt x="2158" y="1930"/>
                  </a:lnTo>
                  <a:lnTo>
                    <a:pt x="2154" y="1928"/>
                  </a:lnTo>
                  <a:lnTo>
                    <a:pt x="2150" y="1928"/>
                  </a:lnTo>
                  <a:lnTo>
                    <a:pt x="2144" y="1930"/>
                  </a:lnTo>
                  <a:lnTo>
                    <a:pt x="2138" y="1934"/>
                  </a:lnTo>
                  <a:lnTo>
                    <a:pt x="2130" y="1946"/>
                  </a:lnTo>
                  <a:lnTo>
                    <a:pt x="2116" y="1970"/>
                  </a:lnTo>
                  <a:lnTo>
                    <a:pt x="2112" y="1982"/>
                  </a:lnTo>
                  <a:close/>
                  <a:moveTo>
                    <a:pt x="1966" y="1940"/>
                  </a:moveTo>
                  <a:lnTo>
                    <a:pt x="1966" y="1940"/>
                  </a:lnTo>
                  <a:lnTo>
                    <a:pt x="1968" y="1948"/>
                  </a:lnTo>
                  <a:lnTo>
                    <a:pt x="1970" y="1954"/>
                  </a:lnTo>
                  <a:lnTo>
                    <a:pt x="1972" y="1960"/>
                  </a:lnTo>
                  <a:lnTo>
                    <a:pt x="1980" y="1974"/>
                  </a:lnTo>
                  <a:lnTo>
                    <a:pt x="1982" y="1980"/>
                  </a:lnTo>
                  <a:lnTo>
                    <a:pt x="1988" y="1984"/>
                  </a:lnTo>
                  <a:lnTo>
                    <a:pt x="1994" y="1986"/>
                  </a:lnTo>
                  <a:lnTo>
                    <a:pt x="1998" y="1986"/>
                  </a:lnTo>
                  <a:lnTo>
                    <a:pt x="2014" y="1986"/>
                  </a:lnTo>
                  <a:lnTo>
                    <a:pt x="2018" y="1986"/>
                  </a:lnTo>
                  <a:lnTo>
                    <a:pt x="2024" y="1988"/>
                  </a:lnTo>
                  <a:lnTo>
                    <a:pt x="2032" y="1990"/>
                  </a:lnTo>
                  <a:lnTo>
                    <a:pt x="2038" y="1992"/>
                  </a:lnTo>
                  <a:lnTo>
                    <a:pt x="2044" y="1996"/>
                  </a:lnTo>
                  <a:lnTo>
                    <a:pt x="2052" y="1996"/>
                  </a:lnTo>
                  <a:lnTo>
                    <a:pt x="2056" y="1996"/>
                  </a:lnTo>
                  <a:lnTo>
                    <a:pt x="2062" y="1994"/>
                  </a:lnTo>
                  <a:lnTo>
                    <a:pt x="2066" y="1988"/>
                  </a:lnTo>
                  <a:lnTo>
                    <a:pt x="2072" y="1974"/>
                  </a:lnTo>
                  <a:lnTo>
                    <a:pt x="2074" y="1968"/>
                  </a:lnTo>
                  <a:lnTo>
                    <a:pt x="2078" y="1962"/>
                  </a:lnTo>
                  <a:lnTo>
                    <a:pt x="2088" y="1950"/>
                  </a:lnTo>
                  <a:lnTo>
                    <a:pt x="2090" y="1944"/>
                  </a:lnTo>
                  <a:lnTo>
                    <a:pt x="2094" y="1932"/>
                  </a:lnTo>
                  <a:lnTo>
                    <a:pt x="2096" y="1928"/>
                  </a:lnTo>
                  <a:lnTo>
                    <a:pt x="2100" y="1924"/>
                  </a:lnTo>
                  <a:lnTo>
                    <a:pt x="2106" y="1922"/>
                  </a:lnTo>
                  <a:lnTo>
                    <a:pt x="2108" y="1920"/>
                  </a:lnTo>
                  <a:lnTo>
                    <a:pt x="2108" y="1918"/>
                  </a:lnTo>
                  <a:lnTo>
                    <a:pt x="2108" y="1916"/>
                  </a:lnTo>
                  <a:lnTo>
                    <a:pt x="2106" y="1914"/>
                  </a:lnTo>
                  <a:lnTo>
                    <a:pt x="2100" y="1912"/>
                  </a:lnTo>
                  <a:lnTo>
                    <a:pt x="2096" y="1908"/>
                  </a:lnTo>
                  <a:lnTo>
                    <a:pt x="2094" y="1900"/>
                  </a:lnTo>
                  <a:lnTo>
                    <a:pt x="2094" y="1898"/>
                  </a:lnTo>
                  <a:lnTo>
                    <a:pt x="2094" y="1882"/>
                  </a:lnTo>
                  <a:lnTo>
                    <a:pt x="2094" y="1878"/>
                  </a:lnTo>
                  <a:lnTo>
                    <a:pt x="2096" y="1870"/>
                  </a:lnTo>
                  <a:lnTo>
                    <a:pt x="2100" y="1866"/>
                  </a:lnTo>
                  <a:lnTo>
                    <a:pt x="2106" y="1864"/>
                  </a:lnTo>
                  <a:lnTo>
                    <a:pt x="2108" y="1862"/>
                  </a:lnTo>
                  <a:lnTo>
                    <a:pt x="2110" y="1858"/>
                  </a:lnTo>
                  <a:lnTo>
                    <a:pt x="2110" y="1856"/>
                  </a:lnTo>
                  <a:lnTo>
                    <a:pt x="2110" y="1852"/>
                  </a:lnTo>
                  <a:lnTo>
                    <a:pt x="2106" y="1848"/>
                  </a:lnTo>
                  <a:lnTo>
                    <a:pt x="2102" y="1842"/>
                  </a:lnTo>
                  <a:lnTo>
                    <a:pt x="2096" y="1836"/>
                  </a:lnTo>
                  <a:lnTo>
                    <a:pt x="2090" y="1834"/>
                  </a:lnTo>
                  <a:lnTo>
                    <a:pt x="2084" y="1832"/>
                  </a:lnTo>
                  <a:lnTo>
                    <a:pt x="2076" y="1834"/>
                  </a:lnTo>
                  <a:lnTo>
                    <a:pt x="2052" y="1846"/>
                  </a:lnTo>
                  <a:lnTo>
                    <a:pt x="2046" y="1850"/>
                  </a:lnTo>
                  <a:lnTo>
                    <a:pt x="2040" y="1856"/>
                  </a:lnTo>
                  <a:lnTo>
                    <a:pt x="2020" y="1882"/>
                  </a:lnTo>
                  <a:lnTo>
                    <a:pt x="2014" y="1888"/>
                  </a:lnTo>
                  <a:lnTo>
                    <a:pt x="2008" y="1892"/>
                  </a:lnTo>
                  <a:lnTo>
                    <a:pt x="2004" y="1896"/>
                  </a:lnTo>
                  <a:lnTo>
                    <a:pt x="1988" y="1902"/>
                  </a:lnTo>
                  <a:lnTo>
                    <a:pt x="1984" y="1904"/>
                  </a:lnTo>
                  <a:lnTo>
                    <a:pt x="1972" y="1914"/>
                  </a:lnTo>
                  <a:lnTo>
                    <a:pt x="1968" y="1920"/>
                  </a:lnTo>
                  <a:lnTo>
                    <a:pt x="1966" y="1926"/>
                  </a:lnTo>
                  <a:lnTo>
                    <a:pt x="1966" y="1940"/>
                  </a:lnTo>
                  <a:close/>
                  <a:moveTo>
                    <a:pt x="2180" y="1810"/>
                  </a:moveTo>
                  <a:lnTo>
                    <a:pt x="2180" y="1810"/>
                  </a:lnTo>
                  <a:lnTo>
                    <a:pt x="2174" y="1814"/>
                  </a:lnTo>
                  <a:lnTo>
                    <a:pt x="2170" y="1818"/>
                  </a:lnTo>
                  <a:lnTo>
                    <a:pt x="2164" y="1832"/>
                  </a:lnTo>
                  <a:lnTo>
                    <a:pt x="2164" y="1834"/>
                  </a:lnTo>
                  <a:lnTo>
                    <a:pt x="2164" y="1836"/>
                  </a:lnTo>
                  <a:lnTo>
                    <a:pt x="2166" y="1838"/>
                  </a:lnTo>
                  <a:lnTo>
                    <a:pt x="2168" y="1836"/>
                  </a:lnTo>
                  <a:lnTo>
                    <a:pt x="2174" y="1834"/>
                  </a:lnTo>
                  <a:lnTo>
                    <a:pt x="2180" y="1832"/>
                  </a:lnTo>
                  <a:lnTo>
                    <a:pt x="2186" y="1834"/>
                  </a:lnTo>
                  <a:lnTo>
                    <a:pt x="2192" y="1838"/>
                  </a:lnTo>
                  <a:lnTo>
                    <a:pt x="2200" y="1840"/>
                  </a:lnTo>
                  <a:lnTo>
                    <a:pt x="2204" y="1840"/>
                  </a:lnTo>
                  <a:lnTo>
                    <a:pt x="2210" y="1840"/>
                  </a:lnTo>
                  <a:lnTo>
                    <a:pt x="2218" y="1844"/>
                  </a:lnTo>
                  <a:lnTo>
                    <a:pt x="2224" y="1846"/>
                  </a:lnTo>
                  <a:lnTo>
                    <a:pt x="2226" y="1846"/>
                  </a:lnTo>
                  <a:lnTo>
                    <a:pt x="2228" y="1846"/>
                  </a:lnTo>
                  <a:lnTo>
                    <a:pt x="2230" y="1844"/>
                  </a:lnTo>
                  <a:lnTo>
                    <a:pt x="2230" y="1842"/>
                  </a:lnTo>
                  <a:lnTo>
                    <a:pt x="2230" y="1818"/>
                  </a:lnTo>
                  <a:lnTo>
                    <a:pt x="2230" y="1812"/>
                  </a:lnTo>
                  <a:lnTo>
                    <a:pt x="2226" y="1806"/>
                  </a:lnTo>
                  <a:lnTo>
                    <a:pt x="2216" y="1798"/>
                  </a:lnTo>
                  <a:lnTo>
                    <a:pt x="2214" y="1796"/>
                  </a:lnTo>
                  <a:lnTo>
                    <a:pt x="2212" y="1794"/>
                  </a:lnTo>
                  <a:lnTo>
                    <a:pt x="2208" y="1796"/>
                  </a:lnTo>
                  <a:lnTo>
                    <a:pt x="2206" y="1798"/>
                  </a:lnTo>
                  <a:lnTo>
                    <a:pt x="2198" y="1806"/>
                  </a:lnTo>
                  <a:lnTo>
                    <a:pt x="2190" y="1810"/>
                  </a:lnTo>
                  <a:lnTo>
                    <a:pt x="2184" y="1810"/>
                  </a:lnTo>
                  <a:lnTo>
                    <a:pt x="2180" y="1810"/>
                  </a:lnTo>
                  <a:close/>
                  <a:moveTo>
                    <a:pt x="2152" y="1544"/>
                  </a:moveTo>
                  <a:lnTo>
                    <a:pt x="2152" y="1544"/>
                  </a:lnTo>
                  <a:lnTo>
                    <a:pt x="2152" y="1542"/>
                  </a:lnTo>
                  <a:lnTo>
                    <a:pt x="2152" y="1540"/>
                  </a:lnTo>
                  <a:lnTo>
                    <a:pt x="2150" y="1540"/>
                  </a:lnTo>
                  <a:lnTo>
                    <a:pt x="2148" y="1542"/>
                  </a:lnTo>
                  <a:lnTo>
                    <a:pt x="2138" y="1550"/>
                  </a:lnTo>
                  <a:lnTo>
                    <a:pt x="2134" y="1558"/>
                  </a:lnTo>
                  <a:lnTo>
                    <a:pt x="2132" y="1564"/>
                  </a:lnTo>
                  <a:lnTo>
                    <a:pt x="2132" y="1568"/>
                  </a:lnTo>
                  <a:lnTo>
                    <a:pt x="2134" y="1576"/>
                  </a:lnTo>
                  <a:lnTo>
                    <a:pt x="2136" y="1584"/>
                  </a:lnTo>
                  <a:lnTo>
                    <a:pt x="2140" y="1588"/>
                  </a:lnTo>
                  <a:lnTo>
                    <a:pt x="2140" y="1590"/>
                  </a:lnTo>
                  <a:lnTo>
                    <a:pt x="2142" y="1592"/>
                  </a:lnTo>
                  <a:lnTo>
                    <a:pt x="2144" y="1590"/>
                  </a:lnTo>
                  <a:lnTo>
                    <a:pt x="2144" y="1588"/>
                  </a:lnTo>
                  <a:lnTo>
                    <a:pt x="2150" y="1564"/>
                  </a:lnTo>
                  <a:lnTo>
                    <a:pt x="2152" y="1548"/>
                  </a:lnTo>
                  <a:lnTo>
                    <a:pt x="2152" y="1544"/>
                  </a:lnTo>
                  <a:close/>
                  <a:moveTo>
                    <a:pt x="2066" y="2082"/>
                  </a:moveTo>
                  <a:lnTo>
                    <a:pt x="2066" y="2082"/>
                  </a:lnTo>
                  <a:lnTo>
                    <a:pt x="2068" y="2082"/>
                  </a:lnTo>
                  <a:lnTo>
                    <a:pt x="2070" y="2082"/>
                  </a:lnTo>
                  <a:lnTo>
                    <a:pt x="2072" y="2080"/>
                  </a:lnTo>
                  <a:lnTo>
                    <a:pt x="2070" y="2078"/>
                  </a:lnTo>
                  <a:lnTo>
                    <a:pt x="2068" y="2072"/>
                  </a:lnTo>
                  <a:lnTo>
                    <a:pt x="2062" y="2066"/>
                  </a:lnTo>
                  <a:lnTo>
                    <a:pt x="2056" y="2062"/>
                  </a:lnTo>
                  <a:lnTo>
                    <a:pt x="2032" y="2058"/>
                  </a:lnTo>
                  <a:lnTo>
                    <a:pt x="2018" y="2052"/>
                  </a:lnTo>
                  <a:lnTo>
                    <a:pt x="2012" y="2048"/>
                  </a:lnTo>
                  <a:lnTo>
                    <a:pt x="2006" y="2046"/>
                  </a:lnTo>
                  <a:lnTo>
                    <a:pt x="1998" y="2046"/>
                  </a:lnTo>
                  <a:lnTo>
                    <a:pt x="1994" y="2046"/>
                  </a:lnTo>
                  <a:lnTo>
                    <a:pt x="1978" y="2046"/>
                  </a:lnTo>
                  <a:lnTo>
                    <a:pt x="1964" y="2046"/>
                  </a:lnTo>
                  <a:lnTo>
                    <a:pt x="1948" y="2046"/>
                  </a:lnTo>
                  <a:lnTo>
                    <a:pt x="1916" y="2046"/>
                  </a:lnTo>
                  <a:lnTo>
                    <a:pt x="1912" y="2046"/>
                  </a:lnTo>
                  <a:lnTo>
                    <a:pt x="1916" y="2048"/>
                  </a:lnTo>
                  <a:lnTo>
                    <a:pt x="1940" y="2062"/>
                  </a:lnTo>
                  <a:lnTo>
                    <a:pt x="1954" y="2066"/>
                  </a:lnTo>
                  <a:lnTo>
                    <a:pt x="1998" y="2074"/>
                  </a:lnTo>
                  <a:lnTo>
                    <a:pt x="2014" y="2074"/>
                  </a:lnTo>
                  <a:lnTo>
                    <a:pt x="2026" y="2074"/>
                  </a:lnTo>
                  <a:lnTo>
                    <a:pt x="2042" y="2076"/>
                  </a:lnTo>
                  <a:lnTo>
                    <a:pt x="2066" y="2082"/>
                  </a:lnTo>
                  <a:close/>
                  <a:moveTo>
                    <a:pt x="2126" y="1676"/>
                  </a:moveTo>
                  <a:lnTo>
                    <a:pt x="2126" y="1676"/>
                  </a:lnTo>
                  <a:lnTo>
                    <a:pt x="2124" y="1684"/>
                  </a:lnTo>
                  <a:lnTo>
                    <a:pt x="2126" y="1692"/>
                  </a:lnTo>
                  <a:lnTo>
                    <a:pt x="2130" y="1706"/>
                  </a:lnTo>
                  <a:lnTo>
                    <a:pt x="2134" y="1712"/>
                  </a:lnTo>
                  <a:lnTo>
                    <a:pt x="2138" y="1718"/>
                  </a:lnTo>
                  <a:lnTo>
                    <a:pt x="2142" y="1722"/>
                  </a:lnTo>
                  <a:lnTo>
                    <a:pt x="2148" y="1722"/>
                  </a:lnTo>
                  <a:lnTo>
                    <a:pt x="2152" y="1724"/>
                  </a:lnTo>
                  <a:lnTo>
                    <a:pt x="2158" y="1728"/>
                  </a:lnTo>
                  <a:lnTo>
                    <a:pt x="2174" y="1738"/>
                  </a:lnTo>
                  <a:lnTo>
                    <a:pt x="2180" y="1744"/>
                  </a:lnTo>
                  <a:lnTo>
                    <a:pt x="2186" y="1750"/>
                  </a:lnTo>
                  <a:lnTo>
                    <a:pt x="2188" y="1754"/>
                  </a:lnTo>
                  <a:lnTo>
                    <a:pt x="2192" y="1760"/>
                  </a:lnTo>
                  <a:lnTo>
                    <a:pt x="2198" y="1766"/>
                  </a:lnTo>
                  <a:lnTo>
                    <a:pt x="2204" y="1768"/>
                  </a:lnTo>
                  <a:lnTo>
                    <a:pt x="2206" y="1768"/>
                  </a:lnTo>
                  <a:lnTo>
                    <a:pt x="2208" y="1768"/>
                  </a:lnTo>
                  <a:lnTo>
                    <a:pt x="2210" y="1766"/>
                  </a:lnTo>
                  <a:lnTo>
                    <a:pt x="2210" y="1764"/>
                  </a:lnTo>
                  <a:lnTo>
                    <a:pt x="2210" y="1760"/>
                  </a:lnTo>
                  <a:lnTo>
                    <a:pt x="2210" y="1752"/>
                  </a:lnTo>
                  <a:lnTo>
                    <a:pt x="2206" y="1746"/>
                  </a:lnTo>
                  <a:lnTo>
                    <a:pt x="2196" y="1730"/>
                  </a:lnTo>
                  <a:lnTo>
                    <a:pt x="2190" y="1724"/>
                  </a:lnTo>
                  <a:lnTo>
                    <a:pt x="2184" y="1718"/>
                  </a:lnTo>
                  <a:lnTo>
                    <a:pt x="2168" y="1708"/>
                  </a:lnTo>
                  <a:lnTo>
                    <a:pt x="2164" y="1704"/>
                  </a:lnTo>
                  <a:lnTo>
                    <a:pt x="2162" y="1698"/>
                  </a:lnTo>
                  <a:lnTo>
                    <a:pt x="2164" y="1686"/>
                  </a:lnTo>
                  <a:lnTo>
                    <a:pt x="2170" y="1672"/>
                  </a:lnTo>
                  <a:lnTo>
                    <a:pt x="2168" y="1666"/>
                  </a:lnTo>
                  <a:lnTo>
                    <a:pt x="2164" y="1660"/>
                  </a:lnTo>
                  <a:lnTo>
                    <a:pt x="2160" y="1658"/>
                  </a:lnTo>
                  <a:lnTo>
                    <a:pt x="2152" y="1656"/>
                  </a:lnTo>
                  <a:lnTo>
                    <a:pt x="2146" y="1658"/>
                  </a:lnTo>
                  <a:lnTo>
                    <a:pt x="2140" y="1660"/>
                  </a:lnTo>
                  <a:lnTo>
                    <a:pt x="2134" y="1666"/>
                  </a:lnTo>
                  <a:lnTo>
                    <a:pt x="2130" y="1672"/>
                  </a:lnTo>
                  <a:lnTo>
                    <a:pt x="2126" y="1676"/>
                  </a:lnTo>
                  <a:close/>
                  <a:moveTo>
                    <a:pt x="3046" y="620"/>
                  </a:moveTo>
                  <a:lnTo>
                    <a:pt x="3046" y="620"/>
                  </a:lnTo>
                  <a:lnTo>
                    <a:pt x="3052" y="616"/>
                  </a:lnTo>
                  <a:lnTo>
                    <a:pt x="3054" y="610"/>
                  </a:lnTo>
                  <a:lnTo>
                    <a:pt x="3062" y="478"/>
                  </a:lnTo>
                  <a:lnTo>
                    <a:pt x="3060" y="472"/>
                  </a:lnTo>
                  <a:lnTo>
                    <a:pt x="3056" y="466"/>
                  </a:lnTo>
                  <a:lnTo>
                    <a:pt x="3050" y="464"/>
                  </a:lnTo>
                  <a:lnTo>
                    <a:pt x="3038" y="460"/>
                  </a:lnTo>
                  <a:lnTo>
                    <a:pt x="3034" y="458"/>
                  </a:lnTo>
                  <a:lnTo>
                    <a:pt x="3028" y="454"/>
                  </a:lnTo>
                  <a:lnTo>
                    <a:pt x="3020" y="446"/>
                  </a:lnTo>
                  <a:lnTo>
                    <a:pt x="3006" y="438"/>
                  </a:lnTo>
                  <a:lnTo>
                    <a:pt x="3002" y="434"/>
                  </a:lnTo>
                  <a:lnTo>
                    <a:pt x="2994" y="432"/>
                  </a:lnTo>
                  <a:lnTo>
                    <a:pt x="2986" y="432"/>
                  </a:lnTo>
                  <a:lnTo>
                    <a:pt x="2972" y="432"/>
                  </a:lnTo>
                  <a:lnTo>
                    <a:pt x="2966" y="430"/>
                  </a:lnTo>
                  <a:lnTo>
                    <a:pt x="2958" y="428"/>
                  </a:lnTo>
                  <a:lnTo>
                    <a:pt x="2952" y="424"/>
                  </a:lnTo>
                  <a:lnTo>
                    <a:pt x="2946" y="422"/>
                  </a:lnTo>
                  <a:lnTo>
                    <a:pt x="2938" y="422"/>
                  </a:lnTo>
                  <a:lnTo>
                    <a:pt x="2934" y="422"/>
                  </a:lnTo>
                  <a:lnTo>
                    <a:pt x="2920" y="422"/>
                  </a:lnTo>
                  <a:lnTo>
                    <a:pt x="2918" y="424"/>
                  </a:lnTo>
                  <a:lnTo>
                    <a:pt x="2918" y="430"/>
                  </a:lnTo>
                  <a:lnTo>
                    <a:pt x="2924" y="452"/>
                  </a:lnTo>
                  <a:lnTo>
                    <a:pt x="2922" y="460"/>
                  </a:lnTo>
                  <a:lnTo>
                    <a:pt x="2918" y="464"/>
                  </a:lnTo>
                  <a:lnTo>
                    <a:pt x="2914" y="466"/>
                  </a:lnTo>
                  <a:lnTo>
                    <a:pt x="2906" y="468"/>
                  </a:lnTo>
                  <a:lnTo>
                    <a:pt x="2900" y="466"/>
                  </a:lnTo>
                  <a:lnTo>
                    <a:pt x="2894" y="464"/>
                  </a:lnTo>
                  <a:lnTo>
                    <a:pt x="2888" y="460"/>
                  </a:lnTo>
                  <a:lnTo>
                    <a:pt x="2882" y="454"/>
                  </a:lnTo>
                  <a:lnTo>
                    <a:pt x="2880" y="448"/>
                  </a:lnTo>
                  <a:lnTo>
                    <a:pt x="2876" y="436"/>
                  </a:lnTo>
                  <a:lnTo>
                    <a:pt x="2874" y="432"/>
                  </a:lnTo>
                  <a:lnTo>
                    <a:pt x="2868" y="432"/>
                  </a:lnTo>
                  <a:lnTo>
                    <a:pt x="2856" y="432"/>
                  </a:lnTo>
                  <a:lnTo>
                    <a:pt x="2848" y="432"/>
                  </a:lnTo>
                  <a:lnTo>
                    <a:pt x="2842" y="436"/>
                  </a:lnTo>
                  <a:lnTo>
                    <a:pt x="2836" y="438"/>
                  </a:lnTo>
                  <a:lnTo>
                    <a:pt x="2830" y="438"/>
                  </a:lnTo>
                  <a:lnTo>
                    <a:pt x="2816" y="434"/>
                  </a:lnTo>
                  <a:lnTo>
                    <a:pt x="2800" y="432"/>
                  </a:lnTo>
                  <a:lnTo>
                    <a:pt x="2786" y="432"/>
                  </a:lnTo>
                  <a:lnTo>
                    <a:pt x="2780" y="432"/>
                  </a:lnTo>
                  <a:lnTo>
                    <a:pt x="2774" y="436"/>
                  </a:lnTo>
                  <a:lnTo>
                    <a:pt x="2772" y="438"/>
                  </a:lnTo>
                  <a:lnTo>
                    <a:pt x="2768" y="438"/>
                  </a:lnTo>
                  <a:lnTo>
                    <a:pt x="2764" y="436"/>
                  </a:lnTo>
                  <a:lnTo>
                    <a:pt x="2756" y="426"/>
                  </a:lnTo>
                  <a:lnTo>
                    <a:pt x="2752" y="420"/>
                  </a:lnTo>
                  <a:lnTo>
                    <a:pt x="2750" y="414"/>
                  </a:lnTo>
                  <a:lnTo>
                    <a:pt x="2750" y="400"/>
                  </a:lnTo>
                  <a:lnTo>
                    <a:pt x="2748" y="394"/>
                  </a:lnTo>
                  <a:lnTo>
                    <a:pt x="2742" y="388"/>
                  </a:lnTo>
                  <a:lnTo>
                    <a:pt x="2726" y="376"/>
                  </a:lnTo>
                  <a:lnTo>
                    <a:pt x="2720" y="374"/>
                  </a:lnTo>
                  <a:lnTo>
                    <a:pt x="2712" y="372"/>
                  </a:lnTo>
                  <a:lnTo>
                    <a:pt x="2680" y="372"/>
                  </a:lnTo>
                  <a:lnTo>
                    <a:pt x="2664" y="372"/>
                  </a:lnTo>
                  <a:lnTo>
                    <a:pt x="2630" y="372"/>
                  </a:lnTo>
                  <a:lnTo>
                    <a:pt x="2624" y="370"/>
                  </a:lnTo>
                  <a:lnTo>
                    <a:pt x="2622" y="368"/>
                  </a:lnTo>
                  <a:lnTo>
                    <a:pt x="2620" y="362"/>
                  </a:lnTo>
                  <a:lnTo>
                    <a:pt x="2618" y="358"/>
                  </a:lnTo>
                  <a:lnTo>
                    <a:pt x="2606" y="348"/>
                  </a:lnTo>
                  <a:lnTo>
                    <a:pt x="2590" y="338"/>
                  </a:lnTo>
                  <a:lnTo>
                    <a:pt x="2586" y="332"/>
                  </a:lnTo>
                  <a:lnTo>
                    <a:pt x="2584" y="326"/>
                  </a:lnTo>
                  <a:lnTo>
                    <a:pt x="2584" y="322"/>
                  </a:lnTo>
                  <a:lnTo>
                    <a:pt x="2580" y="316"/>
                  </a:lnTo>
                  <a:lnTo>
                    <a:pt x="2576" y="312"/>
                  </a:lnTo>
                  <a:lnTo>
                    <a:pt x="2474" y="286"/>
                  </a:lnTo>
                  <a:lnTo>
                    <a:pt x="2468" y="286"/>
                  </a:lnTo>
                  <a:lnTo>
                    <a:pt x="2466" y="288"/>
                  </a:lnTo>
                  <a:lnTo>
                    <a:pt x="2466" y="290"/>
                  </a:lnTo>
                  <a:lnTo>
                    <a:pt x="2464" y="294"/>
                  </a:lnTo>
                  <a:lnTo>
                    <a:pt x="2458" y="298"/>
                  </a:lnTo>
                  <a:lnTo>
                    <a:pt x="2442" y="310"/>
                  </a:lnTo>
                  <a:lnTo>
                    <a:pt x="2438" y="314"/>
                  </a:lnTo>
                  <a:lnTo>
                    <a:pt x="2438" y="322"/>
                  </a:lnTo>
                  <a:lnTo>
                    <a:pt x="2444" y="336"/>
                  </a:lnTo>
                  <a:lnTo>
                    <a:pt x="2444" y="338"/>
                  </a:lnTo>
                  <a:lnTo>
                    <a:pt x="2444" y="342"/>
                  </a:lnTo>
                  <a:lnTo>
                    <a:pt x="2442" y="344"/>
                  </a:lnTo>
                  <a:lnTo>
                    <a:pt x="2438" y="346"/>
                  </a:lnTo>
                  <a:lnTo>
                    <a:pt x="2424" y="350"/>
                  </a:lnTo>
                  <a:lnTo>
                    <a:pt x="2408" y="352"/>
                  </a:lnTo>
                  <a:lnTo>
                    <a:pt x="2406" y="352"/>
                  </a:lnTo>
                  <a:lnTo>
                    <a:pt x="2390" y="350"/>
                  </a:lnTo>
                  <a:lnTo>
                    <a:pt x="2376" y="346"/>
                  </a:lnTo>
                  <a:lnTo>
                    <a:pt x="2368" y="346"/>
                  </a:lnTo>
                  <a:lnTo>
                    <a:pt x="2362" y="348"/>
                  </a:lnTo>
                  <a:lnTo>
                    <a:pt x="2358" y="350"/>
                  </a:lnTo>
                  <a:lnTo>
                    <a:pt x="2350" y="350"/>
                  </a:lnTo>
                  <a:lnTo>
                    <a:pt x="2346" y="346"/>
                  </a:lnTo>
                  <a:lnTo>
                    <a:pt x="2332" y="340"/>
                  </a:lnTo>
                  <a:lnTo>
                    <a:pt x="2326" y="336"/>
                  </a:lnTo>
                  <a:lnTo>
                    <a:pt x="2324" y="336"/>
                  </a:lnTo>
                  <a:lnTo>
                    <a:pt x="2322" y="336"/>
                  </a:lnTo>
                  <a:lnTo>
                    <a:pt x="2320" y="338"/>
                  </a:lnTo>
                  <a:lnTo>
                    <a:pt x="2318" y="342"/>
                  </a:lnTo>
                  <a:lnTo>
                    <a:pt x="2318" y="354"/>
                  </a:lnTo>
                  <a:lnTo>
                    <a:pt x="2318" y="362"/>
                  </a:lnTo>
                  <a:lnTo>
                    <a:pt x="2314" y="368"/>
                  </a:lnTo>
                  <a:lnTo>
                    <a:pt x="2304" y="376"/>
                  </a:lnTo>
                  <a:lnTo>
                    <a:pt x="2302" y="378"/>
                  </a:lnTo>
                  <a:lnTo>
                    <a:pt x="2300" y="378"/>
                  </a:lnTo>
                  <a:lnTo>
                    <a:pt x="2298" y="378"/>
                  </a:lnTo>
                  <a:lnTo>
                    <a:pt x="2294" y="376"/>
                  </a:lnTo>
                  <a:lnTo>
                    <a:pt x="2284" y="360"/>
                  </a:lnTo>
                  <a:lnTo>
                    <a:pt x="2276" y="346"/>
                  </a:lnTo>
                  <a:lnTo>
                    <a:pt x="2264" y="330"/>
                  </a:lnTo>
                  <a:lnTo>
                    <a:pt x="2262" y="324"/>
                  </a:lnTo>
                  <a:lnTo>
                    <a:pt x="2264" y="316"/>
                  </a:lnTo>
                  <a:lnTo>
                    <a:pt x="2276" y="300"/>
                  </a:lnTo>
                  <a:lnTo>
                    <a:pt x="2278" y="294"/>
                  </a:lnTo>
                  <a:lnTo>
                    <a:pt x="2280" y="286"/>
                  </a:lnTo>
                  <a:lnTo>
                    <a:pt x="2280" y="282"/>
                  </a:lnTo>
                  <a:lnTo>
                    <a:pt x="2278" y="276"/>
                  </a:lnTo>
                  <a:lnTo>
                    <a:pt x="2274" y="268"/>
                  </a:lnTo>
                  <a:lnTo>
                    <a:pt x="2266" y="260"/>
                  </a:lnTo>
                  <a:lnTo>
                    <a:pt x="2252" y="252"/>
                  </a:lnTo>
                  <a:lnTo>
                    <a:pt x="2248" y="248"/>
                  </a:lnTo>
                  <a:lnTo>
                    <a:pt x="2240" y="246"/>
                  </a:lnTo>
                  <a:lnTo>
                    <a:pt x="2232" y="246"/>
                  </a:lnTo>
                  <a:lnTo>
                    <a:pt x="2230" y="246"/>
                  </a:lnTo>
                  <a:lnTo>
                    <a:pt x="2222" y="244"/>
                  </a:lnTo>
                  <a:lnTo>
                    <a:pt x="2216" y="240"/>
                  </a:lnTo>
                  <a:lnTo>
                    <a:pt x="2204" y="232"/>
                  </a:lnTo>
                  <a:lnTo>
                    <a:pt x="2198" y="230"/>
                  </a:lnTo>
                  <a:lnTo>
                    <a:pt x="2196" y="228"/>
                  </a:lnTo>
                  <a:lnTo>
                    <a:pt x="2192" y="228"/>
                  </a:lnTo>
                  <a:lnTo>
                    <a:pt x="2190" y="230"/>
                  </a:lnTo>
                  <a:lnTo>
                    <a:pt x="2188" y="232"/>
                  </a:lnTo>
                  <a:lnTo>
                    <a:pt x="2186" y="238"/>
                  </a:lnTo>
                  <a:lnTo>
                    <a:pt x="2178" y="252"/>
                  </a:lnTo>
                  <a:lnTo>
                    <a:pt x="2176" y="258"/>
                  </a:lnTo>
                  <a:lnTo>
                    <a:pt x="2170" y="262"/>
                  </a:lnTo>
                  <a:lnTo>
                    <a:pt x="2164" y="264"/>
                  </a:lnTo>
                  <a:lnTo>
                    <a:pt x="2132" y="264"/>
                  </a:lnTo>
                  <a:lnTo>
                    <a:pt x="2124" y="264"/>
                  </a:lnTo>
                  <a:lnTo>
                    <a:pt x="2116" y="262"/>
                  </a:lnTo>
                  <a:lnTo>
                    <a:pt x="2110" y="258"/>
                  </a:lnTo>
                  <a:lnTo>
                    <a:pt x="2104" y="254"/>
                  </a:lnTo>
                  <a:lnTo>
                    <a:pt x="2100" y="248"/>
                  </a:lnTo>
                  <a:lnTo>
                    <a:pt x="2098" y="242"/>
                  </a:lnTo>
                  <a:lnTo>
                    <a:pt x="2092" y="238"/>
                  </a:lnTo>
                  <a:lnTo>
                    <a:pt x="2086" y="236"/>
                  </a:lnTo>
                  <a:lnTo>
                    <a:pt x="2062" y="236"/>
                  </a:lnTo>
                  <a:lnTo>
                    <a:pt x="2054" y="236"/>
                  </a:lnTo>
                  <a:lnTo>
                    <a:pt x="2048" y="240"/>
                  </a:lnTo>
                  <a:lnTo>
                    <a:pt x="2032" y="250"/>
                  </a:lnTo>
                  <a:lnTo>
                    <a:pt x="2030" y="252"/>
                  </a:lnTo>
                  <a:lnTo>
                    <a:pt x="2028" y="252"/>
                  </a:lnTo>
                  <a:lnTo>
                    <a:pt x="2026" y="250"/>
                  </a:lnTo>
                  <a:lnTo>
                    <a:pt x="2026" y="246"/>
                  </a:lnTo>
                  <a:lnTo>
                    <a:pt x="2026" y="244"/>
                  </a:lnTo>
                  <a:lnTo>
                    <a:pt x="2024" y="236"/>
                  </a:lnTo>
                  <a:lnTo>
                    <a:pt x="2020" y="230"/>
                  </a:lnTo>
                  <a:lnTo>
                    <a:pt x="2012" y="222"/>
                  </a:lnTo>
                  <a:lnTo>
                    <a:pt x="2004" y="218"/>
                  </a:lnTo>
                  <a:lnTo>
                    <a:pt x="1998" y="216"/>
                  </a:lnTo>
                  <a:lnTo>
                    <a:pt x="1994" y="216"/>
                  </a:lnTo>
                  <a:lnTo>
                    <a:pt x="1986" y="218"/>
                  </a:lnTo>
                  <a:lnTo>
                    <a:pt x="1980" y="222"/>
                  </a:lnTo>
                  <a:lnTo>
                    <a:pt x="1972" y="230"/>
                  </a:lnTo>
                  <a:lnTo>
                    <a:pt x="1960" y="240"/>
                  </a:lnTo>
                  <a:lnTo>
                    <a:pt x="1944" y="250"/>
                  </a:lnTo>
                  <a:lnTo>
                    <a:pt x="1930" y="260"/>
                  </a:lnTo>
                  <a:lnTo>
                    <a:pt x="1914" y="270"/>
                  </a:lnTo>
                  <a:lnTo>
                    <a:pt x="1910" y="272"/>
                  </a:lnTo>
                  <a:lnTo>
                    <a:pt x="1912" y="268"/>
                  </a:lnTo>
                  <a:lnTo>
                    <a:pt x="1922" y="252"/>
                  </a:lnTo>
                  <a:lnTo>
                    <a:pt x="1928" y="246"/>
                  </a:lnTo>
                  <a:lnTo>
                    <a:pt x="1934" y="242"/>
                  </a:lnTo>
                  <a:lnTo>
                    <a:pt x="1940" y="238"/>
                  </a:lnTo>
                  <a:lnTo>
                    <a:pt x="1946" y="234"/>
                  </a:lnTo>
                  <a:lnTo>
                    <a:pt x="1952" y="228"/>
                  </a:lnTo>
                  <a:lnTo>
                    <a:pt x="1972" y="194"/>
                  </a:lnTo>
                  <a:lnTo>
                    <a:pt x="1982" y="180"/>
                  </a:lnTo>
                  <a:lnTo>
                    <a:pt x="1990" y="172"/>
                  </a:lnTo>
                  <a:lnTo>
                    <a:pt x="2000" y="160"/>
                  </a:lnTo>
                  <a:lnTo>
                    <a:pt x="2010" y="144"/>
                  </a:lnTo>
                  <a:lnTo>
                    <a:pt x="2014" y="138"/>
                  </a:lnTo>
                  <a:lnTo>
                    <a:pt x="2014" y="130"/>
                  </a:lnTo>
                  <a:lnTo>
                    <a:pt x="2008" y="96"/>
                  </a:lnTo>
                  <a:lnTo>
                    <a:pt x="2004" y="90"/>
                  </a:lnTo>
                  <a:lnTo>
                    <a:pt x="2000" y="84"/>
                  </a:lnTo>
                  <a:lnTo>
                    <a:pt x="1972" y="64"/>
                  </a:lnTo>
                  <a:lnTo>
                    <a:pt x="1958" y="56"/>
                  </a:lnTo>
                  <a:lnTo>
                    <a:pt x="1944" y="52"/>
                  </a:lnTo>
                  <a:lnTo>
                    <a:pt x="1940" y="48"/>
                  </a:lnTo>
                  <a:lnTo>
                    <a:pt x="1938" y="44"/>
                  </a:lnTo>
                  <a:lnTo>
                    <a:pt x="1934" y="32"/>
                  </a:lnTo>
                  <a:lnTo>
                    <a:pt x="1922" y="8"/>
                  </a:lnTo>
                  <a:lnTo>
                    <a:pt x="1916" y="2"/>
                  </a:lnTo>
                  <a:lnTo>
                    <a:pt x="1910" y="0"/>
                  </a:lnTo>
                  <a:lnTo>
                    <a:pt x="1886" y="0"/>
                  </a:lnTo>
                  <a:lnTo>
                    <a:pt x="1880" y="2"/>
                  </a:lnTo>
                  <a:lnTo>
                    <a:pt x="1872" y="6"/>
                  </a:lnTo>
                  <a:lnTo>
                    <a:pt x="1844" y="34"/>
                  </a:lnTo>
                  <a:lnTo>
                    <a:pt x="1840" y="40"/>
                  </a:lnTo>
                  <a:lnTo>
                    <a:pt x="1838" y="48"/>
                  </a:lnTo>
                  <a:lnTo>
                    <a:pt x="1832" y="70"/>
                  </a:lnTo>
                  <a:lnTo>
                    <a:pt x="1828" y="78"/>
                  </a:lnTo>
                  <a:lnTo>
                    <a:pt x="1822" y="82"/>
                  </a:lnTo>
                  <a:lnTo>
                    <a:pt x="1788" y="104"/>
                  </a:lnTo>
                  <a:lnTo>
                    <a:pt x="1780" y="106"/>
                  </a:lnTo>
                  <a:lnTo>
                    <a:pt x="1774" y="104"/>
                  </a:lnTo>
                  <a:lnTo>
                    <a:pt x="1758" y="92"/>
                  </a:lnTo>
                  <a:lnTo>
                    <a:pt x="1750" y="90"/>
                  </a:lnTo>
                  <a:lnTo>
                    <a:pt x="1744" y="92"/>
                  </a:lnTo>
                  <a:lnTo>
                    <a:pt x="1710" y="106"/>
                  </a:lnTo>
                  <a:lnTo>
                    <a:pt x="1696" y="112"/>
                  </a:lnTo>
                  <a:lnTo>
                    <a:pt x="1660" y="134"/>
                  </a:lnTo>
                  <a:lnTo>
                    <a:pt x="1648" y="144"/>
                  </a:lnTo>
                  <a:lnTo>
                    <a:pt x="1630" y="162"/>
                  </a:lnTo>
                  <a:lnTo>
                    <a:pt x="1626" y="168"/>
                  </a:lnTo>
                  <a:lnTo>
                    <a:pt x="1622" y="174"/>
                  </a:lnTo>
                  <a:lnTo>
                    <a:pt x="1616" y="218"/>
                  </a:lnTo>
                  <a:lnTo>
                    <a:pt x="1612" y="224"/>
                  </a:lnTo>
                  <a:lnTo>
                    <a:pt x="1606" y="228"/>
                  </a:lnTo>
                  <a:lnTo>
                    <a:pt x="1544" y="244"/>
                  </a:lnTo>
                  <a:lnTo>
                    <a:pt x="1536" y="246"/>
                  </a:lnTo>
                  <a:lnTo>
                    <a:pt x="1532" y="252"/>
                  </a:lnTo>
                  <a:lnTo>
                    <a:pt x="1530" y="258"/>
                  </a:lnTo>
                  <a:lnTo>
                    <a:pt x="1528" y="264"/>
                  </a:lnTo>
                  <a:lnTo>
                    <a:pt x="1526" y="272"/>
                  </a:lnTo>
                  <a:lnTo>
                    <a:pt x="1526" y="306"/>
                  </a:lnTo>
                  <a:lnTo>
                    <a:pt x="1524" y="310"/>
                  </a:lnTo>
                  <a:lnTo>
                    <a:pt x="1522" y="308"/>
                  </a:lnTo>
                  <a:lnTo>
                    <a:pt x="1516" y="304"/>
                  </a:lnTo>
                  <a:lnTo>
                    <a:pt x="1508" y="302"/>
                  </a:lnTo>
                  <a:lnTo>
                    <a:pt x="1494" y="296"/>
                  </a:lnTo>
                  <a:lnTo>
                    <a:pt x="1488" y="296"/>
                  </a:lnTo>
                  <a:lnTo>
                    <a:pt x="1482" y="300"/>
                  </a:lnTo>
                  <a:lnTo>
                    <a:pt x="1472" y="316"/>
                  </a:lnTo>
                  <a:lnTo>
                    <a:pt x="1468" y="320"/>
                  </a:lnTo>
                  <a:lnTo>
                    <a:pt x="1464" y="320"/>
                  </a:lnTo>
                  <a:lnTo>
                    <a:pt x="1462" y="318"/>
                  </a:lnTo>
                  <a:lnTo>
                    <a:pt x="1458" y="314"/>
                  </a:lnTo>
                  <a:lnTo>
                    <a:pt x="1458" y="308"/>
                  </a:lnTo>
                  <a:lnTo>
                    <a:pt x="1456" y="304"/>
                  </a:lnTo>
                  <a:lnTo>
                    <a:pt x="1452" y="298"/>
                  </a:lnTo>
                  <a:lnTo>
                    <a:pt x="1444" y="290"/>
                  </a:lnTo>
                  <a:lnTo>
                    <a:pt x="1438" y="286"/>
                  </a:lnTo>
                  <a:lnTo>
                    <a:pt x="1434" y="284"/>
                  </a:lnTo>
                  <a:lnTo>
                    <a:pt x="1428" y="286"/>
                  </a:lnTo>
                  <a:lnTo>
                    <a:pt x="1426" y="292"/>
                  </a:lnTo>
                  <a:lnTo>
                    <a:pt x="1420" y="306"/>
                  </a:lnTo>
                  <a:lnTo>
                    <a:pt x="1418" y="322"/>
                  </a:lnTo>
                  <a:lnTo>
                    <a:pt x="1418" y="336"/>
                  </a:lnTo>
                  <a:lnTo>
                    <a:pt x="1418" y="352"/>
                  </a:lnTo>
                  <a:lnTo>
                    <a:pt x="1418" y="374"/>
                  </a:lnTo>
                  <a:lnTo>
                    <a:pt x="1416" y="382"/>
                  </a:lnTo>
                  <a:lnTo>
                    <a:pt x="1414" y="388"/>
                  </a:lnTo>
                  <a:lnTo>
                    <a:pt x="1412" y="388"/>
                  </a:lnTo>
                  <a:lnTo>
                    <a:pt x="1408" y="388"/>
                  </a:lnTo>
                  <a:lnTo>
                    <a:pt x="1404" y="384"/>
                  </a:lnTo>
                  <a:lnTo>
                    <a:pt x="1402" y="380"/>
                  </a:lnTo>
                  <a:lnTo>
                    <a:pt x="1400" y="372"/>
                  </a:lnTo>
                  <a:lnTo>
                    <a:pt x="1400" y="364"/>
                  </a:lnTo>
                  <a:lnTo>
                    <a:pt x="1406" y="340"/>
                  </a:lnTo>
                  <a:lnTo>
                    <a:pt x="1408" y="334"/>
                  </a:lnTo>
                  <a:lnTo>
                    <a:pt x="1406" y="326"/>
                  </a:lnTo>
                  <a:lnTo>
                    <a:pt x="1402" y="312"/>
                  </a:lnTo>
                  <a:lnTo>
                    <a:pt x="1398" y="296"/>
                  </a:lnTo>
                  <a:lnTo>
                    <a:pt x="1398" y="292"/>
                  </a:lnTo>
                  <a:lnTo>
                    <a:pt x="1396" y="286"/>
                  </a:lnTo>
                  <a:lnTo>
                    <a:pt x="1392" y="282"/>
                  </a:lnTo>
                  <a:lnTo>
                    <a:pt x="1376" y="278"/>
                  </a:lnTo>
                  <a:lnTo>
                    <a:pt x="1362" y="274"/>
                  </a:lnTo>
                  <a:lnTo>
                    <a:pt x="1348" y="274"/>
                  </a:lnTo>
                  <a:lnTo>
                    <a:pt x="1342" y="276"/>
                  </a:lnTo>
                  <a:lnTo>
                    <a:pt x="1338" y="282"/>
                  </a:lnTo>
                  <a:lnTo>
                    <a:pt x="1322" y="336"/>
                  </a:lnTo>
                  <a:lnTo>
                    <a:pt x="1320" y="342"/>
                  </a:lnTo>
                  <a:lnTo>
                    <a:pt x="1316" y="348"/>
                  </a:lnTo>
                  <a:lnTo>
                    <a:pt x="1308" y="360"/>
                  </a:lnTo>
                  <a:lnTo>
                    <a:pt x="1304" y="366"/>
                  </a:lnTo>
                  <a:lnTo>
                    <a:pt x="1304" y="372"/>
                  </a:lnTo>
                  <a:lnTo>
                    <a:pt x="1304" y="380"/>
                  </a:lnTo>
                  <a:lnTo>
                    <a:pt x="1308" y="384"/>
                  </a:lnTo>
                  <a:lnTo>
                    <a:pt x="1310" y="392"/>
                  </a:lnTo>
                  <a:lnTo>
                    <a:pt x="1310" y="400"/>
                  </a:lnTo>
                  <a:lnTo>
                    <a:pt x="1310" y="414"/>
                  </a:lnTo>
                  <a:lnTo>
                    <a:pt x="1310" y="426"/>
                  </a:lnTo>
                  <a:lnTo>
                    <a:pt x="1312" y="432"/>
                  </a:lnTo>
                  <a:lnTo>
                    <a:pt x="1316" y="436"/>
                  </a:lnTo>
                  <a:lnTo>
                    <a:pt x="1334" y="454"/>
                  </a:lnTo>
                  <a:lnTo>
                    <a:pt x="1338" y="460"/>
                  </a:lnTo>
                  <a:lnTo>
                    <a:pt x="1336" y="468"/>
                  </a:lnTo>
                  <a:lnTo>
                    <a:pt x="1324" y="484"/>
                  </a:lnTo>
                  <a:lnTo>
                    <a:pt x="1322" y="486"/>
                  </a:lnTo>
                  <a:lnTo>
                    <a:pt x="1320" y="486"/>
                  </a:lnTo>
                  <a:lnTo>
                    <a:pt x="1318" y="486"/>
                  </a:lnTo>
                  <a:lnTo>
                    <a:pt x="1314" y="484"/>
                  </a:lnTo>
                  <a:lnTo>
                    <a:pt x="1296" y="466"/>
                  </a:lnTo>
                  <a:lnTo>
                    <a:pt x="1284" y="456"/>
                  </a:lnTo>
                  <a:lnTo>
                    <a:pt x="1258" y="436"/>
                  </a:lnTo>
                  <a:lnTo>
                    <a:pt x="1252" y="432"/>
                  </a:lnTo>
                  <a:lnTo>
                    <a:pt x="1244" y="432"/>
                  </a:lnTo>
                  <a:lnTo>
                    <a:pt x="1230" y="432"/>
                  </a:lnTo>
                  <a:lnTo>
                    <a:pt x="1214" y="432"/>
                  </a:lnTo>
                  <a:lnTo>
                    <a:pt x="1212" y="432"/>
                  </a:lnTo>
                  <a:lnTo>
                    <a:pt x="1208" y="432"/>
                  </a:lnTo>
                  <a:lnTo>
                    <a:pt x="1206" y="434"/>
                  </a:lnTo>
                  <a:lnTo>
                    <a:pt x="1204" y="436"/>
                  </a:lnTo>
                  <a:lnTo>
                    <a:pt x="1204" y="440"/>
                  </a:lnTo>
                  <a:lnTo>
                    <a:pt x="1204" y="452"/>
                  </a:lnTo>
                  <a:lnTo>
                    <a:pt x="1202" y="460"/>
                  </a:lnTo>
                  <a:lnTo>
                    <a:pt x="1198" y="466"/>
                  </a:lnTo>
                  <a:lnTo>
                    <a:pt x="1192" y="468"/>
                  </a:lnTo>
                  <a:lnTo>
                    <a:pt x="1186" y="466"/>
                  </a:lnTo>
                  <a:lnTo>
                    <a:pt x="1180" y="464"/>
                  </a:lnTo>
                  <a:lnTo>
                    <a:pt x="1174" y="462"/>
                  </a:lnTo>
                  <a:lnTo>
                    <a:pt x="1166" y="464"/>
                  </a:lnTo>
                  <a:lnTo>
                    <a:pt x="1162" y="466"/>
                  </a:lnTo>
                  <a:lnTo>
                    <a:pt x="1146" y="474"/>
                  </a:lnTo>
                  <a:lnTo>
                    <a:pt x="1142" y="476"/>
                  </a:lnTo>
                  <a:lnTo>
                    <a:pt x="1134" y="478"/>
                  </a:lnTo>
                  <a:lnTo>
                    <a:pt x="1126" y="480"/>
                  </a:lnTo>
                  <a:lnTo>
                    <a:pt x="1124" y="480"/>
                  </a:lnTo>
                  <a:lnTo>
                    <a:pt x="1116" y="478"/>
                  </a:lnTo>
                  <a:lnTo>
                    <a:pt x="1110" y="476"/>
                  </a:lnTo>
                  <a:lnTo>
                    <a:pt x="1104" y="472"/>
                  </a:lnTo>
                  <a:lnTo>
                    <a:pt x="1098" y="474"/>
                  </a:lnTo>
                  <a:lnTo>
                    <a:pt x="1092" y="476"/>
                  </a:lnTo>
                  <a:lnTo>
                    <a:pt x="1078" y="484"/>
                  </a:lnTo>
                  <a:lnTo>
                    <a:pt x="1062" y="496"/>
                  </a:lnTo>
                  <a:lnTo>
                    <a:pt x="1050" y="504"/>
                  </a:lnTo>
                  <a:lnTo>
                    <a:pt x="1024" y="516"/>
                  </a:lnTo>
                  <a:lnTo>
                    <a:pt x="1012" y="520"/>
                  </a:lnTo>
                  <a:lnTo>
                    <a:pt x="1008" y="522"/>
                  </a:lnTo>
                  <a:lnTo>
                    <a:pt x="1004" y="526"/>
                  </a:lnTo>
                  <a:lnTo>
                    <a:pt x="1000" y="540"/>
                  </a:lnTo>
                  <a:lnTo>
                    <a:pt x="996" y="546"/>
                  </a:lnTo>
                  <a:lnTo>
                    <a:pt x="992" y="548"/>
                  </a:lnTo>
                  <a:lnTo>
                    <a:pt x="988" y="546"/>
                  </a:lnTo>
                  <a:lnTo>
                    <a:pt x="982" y="542"/>
                  </a:lnTo>
                  <a:lnTo>
                    <a:pt x="974" y="534"/>
                  </a:lnTo>
                  <a:lnTo>
                    <a:pt x="972" y="530"/>
                  </a:lnTo>
                  <a:lnTo>
                    <a:pt x="972" y="526"/>
                  </a:lnTo>
                  <a:lnTo>
                    <a:pt x="974" y="524"/>
                  </a:lnTo>
                  <a:lnTo>
                    <a:pt x="982" y="514"/>
                  </a:lnTo>
                  <a:lnTo>
                    <a:pt x="986" y="508"/>
                  </a:lnTo>
                  <a:lnTo>
                    <a:pt x="988" y="502"/>
                  </a:lnTo>
                  <a:lnTo>
                    <a:pt x="988" y="498"/>
                  </a:lnTo>
                  <a:lnTo>
                    <a:pt x="986" y="492"/>
                  </a:lnTo>
                  <a:lnTo>
                    <a:pt x="980" y="486"/>
                  </a:lnTo>
                  <a:lnTo>
                    <a:pt x="976" y="484"/>
                  </a:lnTo>
                  <a:lnTo>
                    <a:pt x="964" y="480"/>
                  </a:lnTo>
                  <a:lnTo>
                    <a:pt x="950" y="480"/>
                  </a:lnTo>
                  <a:lnTo>
                    <a:pt x="946" y="480"/>
                  </a:lnTo>
                  <a:lnTo>
                    <a:pt x="944" y="480"/>
                  </a:lnTo>
                  <a:lnTo>
                    <a:pt x="942" y="482"/>
                  </a:lnTo>
                  <a:lnTo>
                    <a:pt x="942" y="484"/>
                  </a:lnTo>
                  <a:lnTo>
                    <a:pt x="942" y="488"/>
                  </a:lnTo>
                  <a:lnTo>
                    <a:pt x="944" y="492"/>
                  </a:lnTo>
                  <a:lnTo>
                    <a:pt x="948" y="500"/>
                  </a:lnTo>
                  <a:lnTo>
                    <a:pt x="948" y="508"/>
                  </a:lnTo>
                  <a:lnTo>
                    <a:pt x="948" y="520"/>
                  </a:lnTo>
                  <a:lnTo>
                    <a:pt x="950" y="528"/>
                  </a:lnTo>
                  <a:lnTo>
                    <a:pt x="952" y="536"/>
                  </a:lnTo>
                  <a:lnTo>
                    <a:pt x="954" y="542"/>
                  </a:lnTo>
                  <a:lnTo>
                    <a:pt x="956" y="548"/>
                  </a:lnTo>
                  <a:lnTo>
                    <a:pt x="956" y="556"/>
                  </a:lnTo>
                  <a:lnTo>
                    <a:pt x="952" y="570"/>
                  </a:lnTo>
                  <a:lnTo>
                    <a:pt x="948" y="574"/>
                  </a:lnTo>
                  <a:lnTo>
                    <a:pt x="946" y="574"/>
                  </a:lnTo>
                  <a:lnTo>
                    <a:pt x="944" y="572"/>
                  </a:lnTo>
                  <a:lnTo>
                    <a:pt x="938" y="570"/>
                  </a:lnTo>
                  <a:lnTo>
                    <a:pt x="930" y="568"/>
                  </a:lnTo>
                  <a:lnTo>
                    <a:pt x="928" y="568"/>
                  </a:lnTo>
                  <a:lnTo>
                    <a:pt x="920" y="570"/>
                  </a:lnTo>
                  <a:lnTo>
                    <a:pt x="914" y="572"/>
                  </a:lnTo>
                  <a:lnTo>
                    <a:pt x="902" y="582"/>
                  </a:lnTo>
                  <a:lnTo>
                    <a:pt x="896" y="584"/>
                  </a:lnTo>
                  <a:lnTo>
                    <a:pt x="884" y="592"/>
                  </a:lnTo>
                  <a:lnTo>
                    <a:pt x="882" y="598"/>
                  </a:lnTo>
                  <a:lnTo>
                    <a:pt x="884" y="604"/>
                  </a:lnTo>
                  <a:lnTo>
                    <a:pt x="896" y="630"/>
                  </a:lnTo>
                  <a:lnTo>
                    <a:pt x="898" y="634"/>
                  </a:lnTo>
                  <a:lnTo>
                    <a:pt x="894" y="632"/>
                  </a:lnTo>
                  <a:lnTo>
                    <a:pt x="888" y="628"/>
                  </a:lnTo>
                  <a:lnTo>
                    <a:pt x="882" y="626"/>
                  </a:lnTo>
                  <a:lnTo>
                    <a:pt x="868" y="626"/>
                  </a:lnTo>
                  <a:lnTo>
                    <a:pt x="860" y="626"/>
                  </a:lnTo>
                  <a:lnTo>
                    <a:pt x="854" y="624"/>
                  </a:lnTo>
                  <a:lnTo>
                    <a:pt x="848" y="620"/>
                  </a:lnTo>
                  <a:lnTo>
                    <a:pt x="842" y="620"/>
                  </a:lnTo>
                  <a:lnTo>
                    <a:pt x="840" y="622"/>
                  </a:lnTo>
                  <a:lnTo>
                    <a:pt x="842" y="630"/>
                  </a:lnTo>
                  <a:lnTo>
                    <a:pt x="842" y="632"/>
                  </a:lnTo>
                  <a:lnTo>
                    <a:pt x="836" y="630"/>
                  </a:lnTo>
                  <a:lnTo>
                    <a:pt x="818" y="624"/>
                  </a:lnTo>
                  <a:lnTo>
                    <a:pt x="812" y="622"/>
                  </a:lnTo>
                  <a:lnTo>
                    <a:pt x="808" y="616"/>
                  </a:lnTo>
                  <a:lnTo>
                    <a:pt x="804" y="604"/>
                  </a:lnTo>
                  <a:lnTo>
                    <a:pt x="804" y="598"/>
                  </a:lnTo>
                  <a:lnTo>
                    <a:pt x="806" y="592"/>
                  </a:lnTo>
                  <a:lnTo>
                    <a:pt x="810" y="588"/>
                  </a:lnTo>
                  <a:lnTo>
                    <a:pt x="812" y="582"/>
                  </a:lnTo>
                  <a:lnTo>
                    <a:pt x="810" y="578"/>
                  </a:lnTo>
                  <a:lnTo>
                    <a:pt x="804" y="574"/>
                  </a:lnTo>
                  <a:lnTo>
                    <a:pt x="800" y="572"/>
                  </a:lnTo>
                  <a:lnTo>
                    <a:pt x="786" y="562"/>
                  </a:lnTo>
                  <a:lnTo>
                    <a:pt x="778" y="554"/>
                  </a:lnTo>
                  <a:lnTo>
                    <a:pt x="768" y="544"/>
                  </a:lnTo>
                  <a:lnTo>
                    <a:pt x="766" y="540"/>
                  </a:lnTo>
                  <a:lnTo>
                    <a:pt x="768" y="538"/>
                  </a:lnTo>
                  <a:lnTo>
                    <a:pt x="772" y="540"/>
                  </a:lnTo>
                  <a:lnTo>
                    <a:pt x="778" y="544"/>
                  </a:lnTo>
                  <a:lnTo>
                    <a:pt x="784" y="546"/>
                  </a:lnTo>
                  <a:lnTo>
                    <a:pt x="790" y="548"/>
                  </a:lnTo>
                  <a:lnTo>
                    <a:pt x="794" y="548"/>
                  </a:lnTo>
                  <a:lnTo>
                    <a:pt x="800" y="550"/>
                  </a:lnTo>
                  <a:lnTo>
                    <a:pt x="806" y="556"/>
                  </a:lnTo>
                  <a:lnTo>
                    <a:pt x="808" y="560"/>
                  </a:lnTo>
                  <a:lnTo>
                    <a:pt x="812" y="566"/>
                  </a:lnTo>
                  <a:lnTo>
                    <a:pt x="820" y="570"/>
                  </a:lnTo>
                  <a:lnTo>
                    <a:pt x="842" y="576"/>
                  </a:lnTo>
                  <a:lnTo>
                    <a:pt x="850" y="576"/>
                  </a:lnTo>
                  <a:lnTo>
                    <a:pt x="858" y="576"/>
                  </a:lnTo>
                  <a:lnTo>
                    <a:pt x="872" y="570"/>
                  </a:lnTo>
                  <a:lnTo>
                    <a:pt x="888" y="564"/>
                  </a:lnTo>
                  <a:lnTo>
                    <a:pt x="892" y="562"/>
                  </a:lnTo>
                  <a:lnTo>
                    <a:pt x="898" y="558"/>
                  </a:lnTo>
                  <a:lnTo>
                    <a:pt x="902" y="550"/>
                  </a:lnTo>
                  <a:lnTo>
                    <a:pt x="906" y="536"/>
                  </a:lnTo>
                  <a:lnTo>
                    <a:pt x="906" y="530"/>
                  </a:lnTo>
                  <a:lnTo>
                    <a:pt x="904" y="524"/>
                  </a:lnTo>
                  <a:lnTo>
                    <a:pt x="876" y="496"/>
                  </a:lnTo>
                  <a:lnTo>
                    <a:pt x="864" y="486"/>
                  </a:lnTo>
                  <a:lnTo>
                    <a:pt x="848" y="474"/>
                  </a:lnTo>
                  <a:lnTo>
                    <a:pt x="836" y="464"/>
                  </a:lnTo>
                  <a:lnTo>
                    <a:pt x="826" y="456"/>
                  </a:lnTo>
                  <a:lnTo>
                    <a:pt x="820" y="452"/>
                  </a:lnTo>
                  <a:lnTo>
                    <a:pt x="814" y="448"/>
                  </a:lnTo>
                  <a:lnTo>
                    <a:pt x="800" y="444"/>
                  </a:lnTo>
                  <a:lnTo>
                    <a:pt x="788" y="440"/>
                  </a:lnTo>
                  <a:lnTo>
                    <a:pt x="784" y="438"/>
                  </a:lnTo>
                  <a:lnTo>
                    <a:pt x="782" y="432"/>
                  </a:lnTo>
                  <a:lnTo>
                    <a:pt x="782" y="430"/>
                  </a:lnTo>
                  <a:lnTo>
                    <a:pt x="782" y="426"/>
                  </a:lnTo>
                  <a:lnTo>
                    <a:pt x="780" y="424"/>
                  </a:lnTo>
                  <a:lnTo>
                    <a:pt x="778" y="422"/>
                  </a:lnTo>
                  <a:lnTo>
                    <a:pt x="774" y="422"/>
                  </a:lnTo>
                  <a:lnTo>
                    <a:pt x="770" y="422"/>
                  </a:lnTo>
                  <a:lnTo>
                    <a:pt x="754" y="422"/>
                  </a:lnTo>
                  <a:lnTo>
                    <a:pt x="752" y="422"/>
                  </a:lnTo>
                  <a:lnTo>
                    <a:pt x="742" y="422"/>
                  </a:lnTo>
                  <a:lnTo>
                    <a:pt x="738" y="416"/>
                  </a:lnTo>
                  <a:lnTo>
                    <a:pt x="734" y="412"/>
                  </a:lnTo>
                  <a:lnTo>
                    <a:pt x="734" y="406"/>
                  </a:lnTo>
                  <a:lnTo>
                    <a:pt x="736" y="394"/>
                  </a:lnTo>
                  <a:lnTo>
                    <a:pt x="740" y="390"/>
                  </a:lnTo>
                  <a:lnTo>
                    <a:pt x="740" y="384"/>
                  </a:lnTo>
                  <a:lnTo>
                    <a:pt x="738" y="378"/>
                  </a:lnTo>
                  <a:lnTo>
                    <a:pt x="728" y="368"/>
                  </a:lnTo>
                  <a:lnTo>
                    <a:pt x="720" y="358"/>
                  </a:lnTo>
                  <a:lnTo>
                    <a:pt x="716" y="358"/>
                  </a:lnTo>
                  <a:lnTo>
                    <a:pt x="714" y="356"/>
                  </a:lnTo>
                  <a:lnTo>
                    <a:pt x="710" y="358"/>
                  </a:lnTo>
                  <a:lnTo>
                    <a:pt x="708" y="358"/>
                  </a:lnTo>
                  <a:lnTo>
                    <a:pt x="700" y="368"/>
                  </a:lnTo>
                  <a:lnTo>
                    <a:pt x="694" y="370"/>
                  </a:lnTo>
                  <a:lnTo>
                    <a:pt x="686" y="370"/>
                  </a:lnTo>
                  <a:lnTo>
                    <a:pt x="682" y="366"/>
                  </a:lnTo>
                  <a:lnTo>
                    <a:pt x="670" y="362"/>
                  </a:lnTo>
                  <a:lnTo>
                    <a:pt x="656" y="362"/>
                  </a:lnTo>
                  <a:lnTo>
                    <a:pt x="654" y="362"/>
                  </a:lnTo>
                  <a:lnTo>
                    <a:pt x="646" y="364"/>
                  </a:lnTo>
                  <a:lnTo>
                    <a:pt x="640" y="368"/>
                  </a:lnTo>
                  <a:lnTo>
                    <a:pt x="632" y="376"/>
                  </a:lnTo>
                  <a:lnTo>
                    <a:pt x="626" y="380"/>
                  </a:lnTo>
                  <a:lnTo>
                    <a:pt x="620" y="382"/>
                  </a:lnTo>
                  <a:lnTo>
                    <a:pt x="610" y="382"/>
                  </a:lnTo>
                  <a:lnTo>
                    <a:pt x="606" y="384"/>
                  </a:lnTo>
                  <a:lnTo>
                    <a:pt x="600" y="388"/>
                  </a:lnTo>
                  <a:lnTo>
                    <a:pt x="596" y="390"/>
                  </a:lnTo>
                  <a:lnTo>
                    <a:pt x="592" y="392"/>
                  </a:lnTo>
                  <a:lnTo>
                    <a:pt x="586" y="394"/>
                  </a:lnTo>
                  <a:lnTo>
                    <a:pt x="584" y="400"/>
                  </a:lnTo>
                  <a:lnTo>
                    <a:pt x="578" y="414"/>
                  </a:lnTo>
                  <a:lnTo>
                    <a:pt x="574" y="420"/>
                  </a:lnTo>
                  <a:lnTo>
                    <a:pt x="568" y="422"/>
                  </a:lnTo>
                  <a:lnTo>
                    <a:pt x="556" y="422"/>
                  </a:lnTo>
                  <a:lnTo>
                    <a:pt x="548" y="424"/>
                  </a:lnTo>
                  <a:lnTo>
                    <a:pt x="544" y="430"/>
                  </a:lnTo>
                  <a:lnTo>
                    <a:pt x="540" y="444"/>
                  </a:lnTo>
                  <a:lnTo>
                    <a:pt x="538" y="456"/>
                  </a:lnTo>
                  <a:lnTo>
                    <a:pt x="534" y="460"/>
                  </a:lnTo>
                  <a:lnTo>
                    <a:pt x="530" y="460"/>
                  </a:lnTo>
                  <a:lnTo>
                    <a:pt x="526" y="460"/>
                  </a:lnTo>
                  <a:lnTo>
                    <a:pt x="518" y="462"/>
                  </a:lnTo>
                  <a:lnTo>
                    <a:pt x="514" y="468"/>
                  </a:lnTo>
                  <a:lnTo>
                    <a:pt x="502" y="484"/>
                  </a:lnTo>
                  <a:lnTo>
                    <a:pt x="500" y="490"/>
                  </a:lnTo>
                  <a:lnTo>
                    <a:pt x="498" y="498"/>
                  </a:lnTo>
                  <a:lnTo>
                    <a:pt x="498" y="502"/>
                  </a:lnTo>
                  <a:lnTo>
                    <a:pt x="496" y="510"/>
                  </a:lnTo>
                  <a:lnTo>
                    <a:pt x="494" y="516"/>
                  </a:lnTo>
                  <a:lnTo>
                    <a:pt x="482" y="532"/>
                  </a:lnTo>
                  <a:lnTo>
                    <a:pt x="474" y="546"/>
                  </a:lnTo>
                  <a:lnTo>
                    <a:pt x="472" y="552"/>
                  </a:lnTo>
                  <a:lnTo>
                    <a:pt x="466" y="566"/>
                  </a:lnTo>
                  <a:lnTo>
                    <a:pt x="462" y="570"/>
                  </a:lnTo>
                  <a:lnTo>
                    <a:pt x="456" y="586"/>
                  </a:lnTo>
                  <a:lnTo>
                    <a:pt x="452" y="590"/>
                  </a:lnTo>
                  <a:lnTo>
                    <a:pt x="444" y="604"/>
                  </a:lnTo>
                  <a:lnTo>
                    <a:pt x="424" y="640"/>
                  </a:lnTo>
                  <a:lnTo>
                    <a:pt x="414" y="652"/>
                  </a:lnTo>
                  <a:lnTo>
                    <a:pt x="406" y="660"/>
                  </a:lnTo>
                  <a:lnTo>
                    <a:pt x="392" y="670"/>
                  </a:lnTo>
                  <a:lnTo>
                    <a:pt x="388" y="672"/>
                  </a:lnTo>
                  <a:lnTo>
                    <a:pt x="382" y="676"/>
                  </a:lnTo>
                  <a:lnTo>
                    <a:pt x="376" y="682"/>
                  </a:lnTo>
                  <a:lnTo>
                    <a:pt x="374" y="688"/>
                  </a:lnTo>
                  <a:lnTo>
                    <a:pt x="366" y="700"/>
                  </a:lnTo>
                  <a:lnTo>
                    <a:pt x="356" y="710"/>
                  </a:lnTo>
                  <a:lnTo>
                    <a:pt x="352" y="714"/>
                  </a:lnTo>
                  <a:lnTo>
                    <a:pt x="350" y="720"/>
                  </a:lnTo>
                  <a:lnTo>
                    <a:pt x="346" y="732"/>
                  </a:lnTo>
                  <a:lnTo>
                    <a:pt x="344" y="736"/>
                  </a:lnTo>
                  <a:lnTo>
                    <a:pt x="342" y="744"/>
                  </a:lnTo>
                  <a:lnTo>
                    <a:pt x="340" y="752"/>
                  </a:lnTo>
                  <a:lnTo>
                    <a:pt x="340" y="756"/>
                  </a:lnTo>
                  <a:lnTo>
                    <a:pt x="342" y="764"/>
                  </a:lnTo>
                  <a:lnTo>
                    <a:pt x="344" y="770"/>
                  </a:lnTo>
                  <a:lnTo>
                    <a:pt x="346" y="776"/>
                  </a:lnTo>
                  <a:lnTo>
                    <a:pt x="348" y="784"/>
                  </a:lnTo>
                  <a:lnTo>
                    <a:pt x="350" y="792"/>
                  </a:lnTo>
                  <a:lnTo>
                    <a:pt x="350" y="794"/>
                  </a:lnTo>
                  <a:lnTo>
                    <a:pt x="350" y="810"/>
                  </a:lnTo>
                  <a:lnTo>
                    <a:pt x="350" y="814"/>
                  </a:lnTo>
                  <a:lnTo>
                    <a:pt x="352" y="820"/>
                  </a:lnTo>
                  <a:lnTo>
                    <a:pt x="356" y="826"/>
                  </a:lnTo>
                  <a:lnTo>
                    <a:pt x="364" y="828"/>
                  </a:lnTo>
                  <a:lnTo>
                    <a:pt x="370" y="830"/>
                  </a:lnTo>
                  <a:lnTo>
                    <a:pt x="378" y="832"/>
                  </a:lnTo>
                  <a:lnTo>
                    <a:pt x="382" y="832"/>
                  </a:lnTo>
                  <a:lnTo>
                    <a:pt x="390" y="830"/>
                  </a:lnTo>
                  <a:lnTo>
                    <a:pt x="396" y="828"/>
                  </a:lnTo>
                  <a:lnTo>
                    <a:pt x="412" y="816"/>
                  </a:lnTo>
                  <a:lnTo>
                    <a:pt x="424" y="808"/>
                  </a:lnTo>
                  <a:lnTo>
                    <a:pt x="430" y="804"/>
                  </a:lnTo>
                  <a:lnTo>
                    <a:pt x="434" y="802"/>
                  </a:lnTo>
                  <a:lnTo>
                    <a:pt x="438" y="800"/>
                  </a:lnTo>
                  <a:lnTo>
                    <a:pt x="442" y="796"/>
                  </a:lnTo>
                  <a:lnTo>
                    <a:pt x="446" y="790"/>
                  </a:lnTo>
                  <a:lnTo>
                    <a:pt x="454" y="778"/>
                  </a:lnTo>
                  <a:lnTo>
                    <a:pt x="458" y="774"/>
                  </a:lnTo>
                  <a:lnTo>
                    <a:pt x="454" y="778"/>
                  </a:lnTo>
                  <a:lnTo>
                    <a:pt x="446" y="790"/>
                  </a:lnTo>
                  <a:lnTo>
                    <a:pt x="442" y="796"/>
                  </a:lnTo>
                  <a:lnTo>
                    <a:pt x="440" y="808"/>
                  </a:lnTo>
                  <a:lnTo>
                    <a:pt x="442" y="820"/>
                  </a:lnTo>
                  <a:lnTo>
                    <a:pt x="446" y="826"/>
                  </a:lnTo>
                  <a:lnTo>
                    <a:pt x="448" y="832"/>
                  </a:lnTo>
                  <a:lnTo>
                    <a:pt x="448" y="840"/>
                  </a:lnTo>
                  <a:lnTo>
                    <a:pt x="448" y="844"/>
                  </a:lnTo>
                  <a:lnTo>
                    <a:pt x="452" y="860"/>
                  </a:lnTo>
                  <a:lnTo>
                    <a:pt x="456" y="874"/>
                  </a:lnTo>
                  <a:lnTo>
                    <a:pt x="458" y="886"/>
                  </a:lnTo>
                  <a:lnTo>
                    <a:pt x="460" y="892"/>
                  </a:lnTo>
                  <a:lnTo>
                    <a:pt x="464" y="896"/>
                  </a:lnTo>
                  <a:lnTo>
                    <a:pt x="466" y="902"/>
                  </a:lnTo>
                  <a:lnTo>
                    <a:pt x="468" y="906"/>
                  </a:lnTo>
                  <a:lnTo>
                    <a:pt x="470" y="910"/>
                  </a:lnTo>
                  <a:lnTo>
                    <a:pt x="476" y="910"/>
                  </a:lnTo>
                  <a:lnTo>
                    <a:pt x="480" y="910"/>
                  </a:lnTo>
                  <a:lnTo>
                    <a:pt x="486" y="910"/>
                  </a:lnTo>
                  <a:lnTo>
                    <a:pt x="488" y="906"/>
                  </a:lnTo>
                  <a:lnTo>
                    <a:pt x="490" y="902"/>
                  </a:lnTo>
                  <a:lnTo>
                    <a:pt x="492" y="896"/>
                  </a:lnTo>
                  <a:lnTo>
                    <a:pt x="498" y="892"/>
                  </a:lnTo>
                  <a:lnTo>
                    <a:pt x="506" y="892"/>
                  </a:lnTo>
                  <a:lnTo>
                    <a:pt x="510" y="892"/>
                  </a:lnTo>
                  <a:lnTo>
                    <a:pt x="516" y="890"/>
                  </a:lnTo>
                  <a:lnTo>
                    <a:pt x="520" y="884"/>
                  </a:lnTo>
                  <a:lnTo>
                    <a:pt x="524" y="878"/>
                  </a:lnTo>
                  <a:lnTo>
                    <a:pt x="526" y="872"/>
                  </a:lnTo>
                  <a:lnTo>
                    <a:pt x="528" y="864"/>
                  </a:lnTo>
                  <a:lnTo>
                    <a:pt x="528" y="840"/>
                  </a:lnTo>
                  <a:lnTo>
                    <a:pt x="528" y="824"/>
                  </a:lnTo>
                  <a:lnTo>
                    <a:pt x="528" y="822"/>
                  </a:lnTo>
                  <a:lnTo>
                    <a:pt x="528" y="816"/>
                  </a:lnTo>
                  <a:lnTo>
                    <a:pt x="532" y="814"/>
                  </a:lnTo>
                  <a:lnTo>
                    <a:pt x="544" y="810"/>
                  </a:lnTo>
                  <a:lnTo>
                    <a:pt x="550" y="806"/>
                  </a:lnTo>
                  <a:lnTo>
                    <a:pt x="554" y="802"/>
                  </a:lnTo>
                  <a:lnTo>
                    <a:pt x="556" y="796"/>
                  </a:lnTo>
                  <a:lnTo>
                    <a:pt x="556" y="792"/>
                  </a:lnTo>
                  <a:lnTo>
                    <a:pt x="556" y="784"/>
                  </a:lnTo>
                  <a:lnTo>
                    <a:pt x="554" y="776"/>
                  </a:lnTo>
                  <a:lnTo>
                    <a:pt x="550" y="772"/>
                  </a:lnTo>
                  <a:lnTo>
                    <a:pt x="542" y="760"/>
                  </a:lnTo>
                  <a:lnTo>
                    <a:pt x="538" y="754"/>
                  </a:lnTo>
                  <a:lnTo>
                    <a:pt x="536" y="746"/>
                  </a:lnTo>
                  <a:lnTo>
                    <a:pt x="536" y="732"/>
                  </a:lnTo>
                  <a:lnTo>
                    <a:pt x="536" y="716"/>
                  </a:lnTo>
                  <a:lnTo>
                    <a:pt x="536" y="704"/>
                  </a:lnTo>
                  <a:lnTo>
                    <a:pt x="538" y="696"/>
                  </a:lnTo>
                  <a:lnTo>
                    <a:pt x="542" y="690"/>
                  </a:lnTo>
                  <a:lnTo>
                    <a:pt x="550" y="682"/>
                  </a:lnTo>
                  <a:lnTo>
                    <a:pt x="562" y="672"/>
                  </a:lnTo>
                  <a:lnTo>
                    <a:pt x="572" y="662"/>
                  </a:lnTo>
                  <a:lnTo>
                    <a:pt x="590" y="652"/>
                  </a:lnTo>
                  <a:lnTo>
                    <a:pt x="594" y="646"/>
                  </a:lnTo>
                  <a:lnTo>
                    <a:pt x="600" y="640"/>
                  </a:lnTo>
                  <a:lnTo>
                    <a:pt x="602" y="634"/>
                  </a:lnTo>
                  <a:lnTo>
                    <a:pt x="604" y="628"/>
                  </a:lnTo>
                  <a:lnTo>
                    <a:pt x="600" y="622"/>
                  </a:lnTo>
                  <a:lnTo>
                    <a:pt x="598" y="616"/>
                  </a:lnTo>
                  <a:lnTo>
                    <a:pt x="600" y="610"/>
                  </a:lnTo>
                  <a:lnTo>
                    <a:pt x="602" y="604"/>
                  </a:lnTo>
                  <a:lnTo>
                    <a:pt x="612" y="592"/>
                  </a:lnTo>
                  <a:lnTo>
                    <a:pt x="620" y="584"/>
                  </a:lnTo>
                  <a:lnTo>
                    <a:pt x="624" y="580"/>
                  </a:lnTo>
                  <a:lnTo>
                    <a:pt x="630" y="576"/>
                  </a:lnTo>
                  <a:lnTo>
                    <a:pt x="634" y="578"/>
                  </a:lnTo>
                  <a:lnTo>
                    <a:pt x="640" y="582"/>
                  </a:lnTo>
                  <a:lnTo>
                    <a:pt x="648" y="594"/>
                  </a:lnTo>
                  <a:lnTo>
                    <a:pt x="652" y="600"/>
                  </a:lnTo>
                  <a:lnTo>
                    <a:pt x="652" y="608"/>
                  </a:lnTo>
                  <a:lnTo>
                    <a:pt x="652" y="614"/>
                  </a:lnTo>
                  <a:lnTo>
                    <a:pt x="638" y="640"/>
                  </a:lnTo>
                  <a:lnTo>
                    <a:pt x="634" y="646"/>
                  </a:lnTo>
                  <a:lnTo>
                    <a:pt x="628" y="650"/>
                  </a:lnTo>
                  <a:lnTo>
                    <a:pt x="612" y="662"/>
                  </a:lnTo>
                  <a:lnTo>
                    <a:pt x="606" y="666"/>
                  </a:lnTo>
                  <a:lnTo>
                    <a:pt x="604" y="674"/>
                  </a:lnTo>
                  <a:lnTo>
                    <a:pt x="598" y="688"/>
                  </a:lnTo>
                  <a:lnTo>
                    <a:pt x="596" y="704"/>
                  </a:lnTo>
                  <a:lnTo>
                    <a:pt x="596" y="726"/>
                  </a:lnTo>
                  <a:lnTo>
                    <a:pt x="596" y="734"/>
                  </a:lnTo>
                  <a:lnTo>
                    <a:pt x="600" y="742"/>
                  </a:lnTo>
                  <a:lnTo>
                    <a:pt x="602" y="748"/>
                  </a:lnTo>
                  <a:lnTo>
                    <a:pt x="610" y="760"/>
                  </a:lnTo>
                  <a:lnTo>
                    <a:pt x="620" y="770"/>
                  </a:lnTo>
                  <a:lnTo>
                    <a:pt x="626" y="772"/>
                  </a:lnTo>
                  <a:lnTo>
                    <a:pt x="634" y="774"/>
                  </a:lnTo>
                  <a:lnTo>
                    <a:pt x="636" y="774"/>
                  </a:lnTo>
                  <a:lnTo>
                    <a:pt x="652" y="772"/>
                  </a:lnTo>
                  <a:lnTo>
                    <a:pt x="676" y="766"/>
                  </a:lnTo>
                  <a:lnTo>
                    <a:pt x="690" y="764"/>
                  </a:lnTo>
                  <a:lnTo>
                    <a:pt x="694" y="764"/>
                  </a:lnTo>
                  <a:lnTo>
                    <a:pt x="700" y="764"/>
                  </a:lnTo>
                  <a:lnTo>
                    <a:pt x="704" y="766"/>
                  </a:lnTo>
                  <a:lnTo>
                    <a:pt x="708" y="768"/>
                  </a:lnTo>
                  <a:lnTo>
                    <a:pt x="712" y="774"/>
                  </a:lnTo>
                  <a:lnTo>
                    <a:pt x="714" y="782"/>
                  </a:lnTo>
                  <a:lnTo>
                    <a:pt x="714" y="786"/>
                  </a:lnTo>
                  <a:lnTo>
                    <a:pt x="712" y="790"/>
                  </a:lnTo>
                  <a:lnTo>
                    <a:pt x="708" y="794"/>
                  </a:lnTo>
                  <a:lnTo>
                    <a:pt x="704" y="794"/>
                  </a:lnTo>
                  <a:lnTo>
                    <a:pt x="700" y="792"/>
                  </a:lnTo>
                  <a:lnTo>
                    <a:pt x="686" y="792"/>
                  </a:lnTo>
                  <a:lnTo>
                    <a:pt x="672" y="792"/>
                  </a:lnTo>
                  <a:lnTo>
                    <a:pt x="658" y="796"/>
                  </a:lnTo>
                  <a:lnTo>
                    <a:pt x="642" y="800"/>
                  </a:lnTo>
                  <a:lnTo>
                    <a:pt x="638" y="804"/>
                  </a:lnTo>
                  <a:lnTo>
                    <a:pt x="634" y="808"/>
                  </a:lnTo>
                  <a:lnTo>
                    <a:pt x="634" y="818"/>
                  </a:lnTo>
                  <a:lnTo>
                    <a:pt x="636" y="822"/>
                  </a:lnTo>
                  <a:lnTo>
                    <a:pt x="640" y="828"/>
                  </a:lnTo>
                  <a:lnTo>
                    <a:pt x="644" y="832"/>
                  </a:lnTo>
                  <a:lnTo>
                    <a:pt x="644" y="838"/>
                  </a:lnTo>
                  <a:lnTo>
                    <a:pt x="644" y="842"/>
                  </a:lnTo>
                  <a:lnTo>
                    <a:pt x="642" y="850"/>
                  </a:lnTo>
                  <a:lnTo>
                    <a:pt x="638" y="854"/>
                  </a:lnTo>
                  <a:lnTo>
                    <a:pt x="636" y="856"/>
                  </a:lnTo>
                  <a:lnTo>
                    <a:pt x="634" y="858"/>
                  </a:lnTo>
                  <a:lnTo>
                    <a:pt x="632" y="858"/>
                  </a:lnTo>
                  <a:lnTo>
                    <a:pt x="628" y="858"/>
                  </a:lnTo>
                  <a:lnTo>
                    <a:pt x="622" y="856"/>
                  </a:lnTo>
                  <a:lnTo>
                    <a:pt x="610" y="852"/>
                  </a:lnTo>
                  <a:lnTo>
                    <a:pt x="606" y="854"/>
                  </a:lnTo>
                  <a:lnTo>
                    <a:pt x="602" y="858"/>
                  </a:lnTo>
                  <a:lnTo>
                    <a:pt x="600" y="864"/>
                  </a:lnTo>
                  <a:lnTo>
                    <a:pt x="598" y="872"/>
                  </a:lnTo>
                  <a:lnTo>
                    <a:pt x="596" y="880"/>
                  </a:lnTo>
                  <a:lnTo>
                    <a:pt x="596" y="882"/>
                  </a:lnTo>
                  <a:lnTo>
                    <a:pt x="596" y="890"/>
                  </a:lnTo>
                  <a:lnTo>
                    <a:pt x="596" y="898"/>
                  </a:lnTo>
                  <a:lnTo>
                    <a:pt x="596" y="902"/>
                  </a:lnTo>
                  <a:lnTo>
                    <a:pt x="596" y="910"/>
                  </a:lnTo>
                  <a:lnTo>
                    <a:pt x="592" y="910"/>
                  </a:lnTo>
                  <a:lnTo>
                    <a:pt x="586" y="912"/>
                  </a:lnTo>
                  <a:lnTo>
                    <a:pt x="582" y="916"/>
                  </a:lnTo>
                  <a:lnTo>
                    <a:pt x="578" y="920"/>
                  </a:lnTo>
                  <a:lnTo>
                    <a:pt x="576" y="926"/>
                  </a:lnTo>
                  <a:lnTo>
                    <a:pt x="574" y="928"/>
                  </a:lnTo>
                  <a:lnTo>
                    <a:pt x="568" y="930"/>
                  </a:lnTo>
                  <a:lnTo>
                    <a:pt x="564" y="930"/>
                  </a:lnTo>
                  <a:lnTo>
                    <a:pt x="552" y="930"/>
                  </a:lnTo>
                  <a:lnTo>
                    <a:pt x="540" y="932"/>
                  </a:lnTo>
                  <a:lnTo>
                    <a:pt x="516" y="938"/>
                  </a:lnTo>
                  <a:lnTo>
                    <a:pt x="500" y="944"/>
                  </a:lnTo>
                  <a:lnTo>
                    <a:pt x="496" y="946"/>
                  </a:lnTo>
                  <a:lnTo>
                    <a:pt x="488" y="950"/>
                  </a:lnTo>
                  <a:lnTo>
                    <a:pt x="482" y="946"/>
                  </a:lnTo>
                  <a:lnTo>
                    <a:pt x="476" y="944"/>
                  </a:lnTo>
                  <a:lnTo>
                    <a:pt x="468" y="942"/>
                  </a:lnTo>
                  <a:lnTo>
                    <a:pt x="462" y="944"/>
                  </a:lnTo>
                  <a:lnTo>
                    <a:pt x="456" y="946"/>
                  </a:lnTo>
                  <a:lnTo>
                    <a:pt x="450" y="946"/>
                  </a:lnTo>
                  <a:lnTo>
                    <a:pt x="444" y="944"/>
                  </a:lnTo>
                  <a:lnTo>
                    <a:pt x="440" y="940"/>
                  </a:lnTo>
                  <a:lnTo>
                    <a:pt x="440" y="934"/>
                  </a:lnTo>
                  <a:lnTo>
                    <a:pt x="436" y="932"/>
                  </a:lnTo>
                  <a:lnTo>
                    <a:pt x="432" y="930"/>
                  </a:lnTo>
                  <a:lnTo>
                    <a:pt x="428" y="930"/>
                  </a:lnTo>
                  <a:lnTo>
                    <a:pt x="424" y="930"/>
                  </a:lnTo>
                  <a:lnTo>
                    <a:pt x="422" y="928"/>
                  </a:lnTo>
                  <a:lnTo>
                    <a:pt x="420" y="924"/>
                  </a:lnTo>
                  <a:lnTo>
                    <a:pt x="420" y="922"/>
                  </a:lnTo>
                  <a:lnTo>
                    <a:pt x="420" y="918"/>
                  </a:lnTo>
                  <a:lnTo>
                    <a:pt x="420" y="902"/>
                  </a:lnTo>
                  <a:lnTo>
                    <a:pt x="420" y="898"/>
                  </a:lnTo>
                  <a:lnTo>
                    <a:pt x="422" y="894"/>
                  </a:lnTo>
                  <a:lnTo>
                    <a:pt x="424" y="890"/>
                  </a:lnTo>
                  <a:lnTo>
                    <a:pt x="430" y="890"/>
                  </a:lnTo>
                  <a:lnTo>
                    <a:pt x="434" y="886"/>
                  </a:lnTo>
                  <a:lnTo>
                    <a:pt x="436" y="882"/>
                  </a:lnTo>
                  <a:lnTo>
                    <a:pt x="434" y="882"/>
                  </a:lnTo>
                  <a:lnTo>
                    <a:pt x="430" y="880"/>
                  </a:lnTo>
                  <a:lnTo>
                    <a:pt x="430" y="876"/>
                  </a:lnTo>
                  <a:lnTo>
                    <a:pt x="430" y="864"/>
                  </a:lnTo>
                  <a:lnTo>
                    <a:pt x="430" y="860"/>
                  </a:lnTo>
                  <a:lnTo>
                    <a:pt x="428" y="858"/>
                  </a:lnTo>
                  <a:lnTo>
                    <a:pt x="428" y="856"/>
                  </a:lnTo>
                  <a:lnTo>
                    <a:pt x="426" y="854"/>
                  </a:lnTo>
                  <a:lnTo>
                    <a:pt x="422" y="856"/>
                  </a:lnTo>
                  <a:lnTo>
                    <a:pt x="418" y="858"/>
                  </a:lnTo>
                  <a:lnTo>
                    <a:pt x="406" y="862"/>
                  </a:lnTo>
                  <a:lnTo>
                    <a:pt x="400" y="864"/>
                  </a:lnTo>
                  <a:lnTo>
                    <a:pt x="398" y="868"/>
                  </a:lnTo>
                  <a:lnTo>
                    <a:pt x="394" y="874"/>
                  </a:lnTo>
                  <a:lnTo>
                    <a:pt x="392" y="882"/>
                  </a:lnTo>
                  <a:lnTo>
                    <a:pt x="392" y="890"/>
                  </a:lnTo>
                  <a:lnTo>
                    <a:pt x="392" y="892"/>
                  </a:lnTo>
                  <a:lnTo>
                    <a:pt x="392" y="900"/>
                  </a:lnTo>
                  <a:lnTo>
                    <a:pt x="396" y="906"/>
                  </a:lnTo>
                  <a:lnTo>
                    <a:pt x="404" y="918"/>
                  </a:lnTo>
                  <a:lnTo>
                    <a:pt x="406" y="922"/>
                  </a:lnTo>
                  <a:lnTo>
                    <a:pt x="410" y="930"/>
                  </a:lnTo>
                  <a:lnTo>
                    <a:pt x="406" y="936"/>
                  </a:lnTo>
                  <a:lnTo>
                    <a:pt x="404" y="942"/>
                  </a:lnTo>
                  <a:lnTo>
                    <a:pt x="400" y="954"/>
                  </a:lnTo>
                  <a:lnTo>
                    <a:pt x="398" y="958"/>
                  </a:lnTo>
                  <a:lnTo>
                    <a:pt x="396" y="958"/>
                  </a:lnTo>
                  <a:lnTo>
                    <a:pt x="386" y="958"/>
                  </a:lnTo>
                  <a:lnTo>
                    <a:pt x="380" y="960"/>
                  </a:lnTo>
                  <a:lnTo>
                    <a:pt x="376" y="960"/>
                  </a:lnTo>
                  <a:lnTo>
                    <a:pt x="364" y="964"/>
                  </a:lnTo>
                  <a:lnTo>
                    <a:pt x="358" y="966"/>
                  </a:lnTo>
                  <a:lnTo>
                    <a:pt x="352" y="970"/>
                  </a:lnTo>
                  <a:lnTo>
                    <a:pt x="346" y="976"/>
                  </a:lnTo>
                  <a:lnTo>
                    <a:pt x="336" y="992"/>
                  </a:lnTo>
                  <a:lnTo>
                    <a:pt x="326" y="1004"/>
                  </a:lnTo>
                  <a:lnTo>
                    <a:pt x="320" y="1008"/>
                  </a:lnTo>
                  <a:lnTo>
                    <a:pt x="316" y="1012"/>
                  </a:lnTo>
                  <a:lnTo>
                    <a:pt x="312" y="1018"/>
                  </a:lnTo>
                  <a:lnTo>
                    <a:pt x="306" y="1024"/>
                  </a:lnTo>
                  <a:lnTo>
                    <a:pt x="298" y="1034"/>
                  </a:lnTo>
                  <a:lnTo>
                    <a:pt x="296" y="1040"/>
                  </a:lnTo>
                  <a:lnTo>
                    <a:pt x="292" y="1046"/>
                  </a:lnTo>
                  <a:lnTo>
                    <a:pt x="288" y="1048"/>
                  </a:lnTo>
                  <a:lnTo>
                    <a:pt x="282" y="1050"/>
                  </a:lnTo>
                  <a:lnTo>
                    <a:pt x="278" y="1054"/>
                  </a:lnTo>
                  <a:lnTo>
                    <a:pt x="276" y="1060"/>
                  </a:lnTo>
                  <a:lnTo>
                    <a:pt x="272" y="1064"/>
                  </a:lnTo>
                  <a:lnTo>
                    <a:pt x="264" y="1066"/>
                  </a:lnTo>
                  <a:lnTo>
                    <a:pt x="260" y="1066"/>
                  </a:lnTo>
                  <a:lnTo>
                    <a:pt x="256" y="1066"/>
                  </a:lnTo>
                  <a:lnTo>
                    <a:pt x="252" y="1062"/>
                  </a:lnTo>
                  <a:lnTo>
                    <a:pt x="252" y="1058"/>
                  </a:lnTo>
                  <a:lnTo>
                    <a:pt x="248" y="1058"/>
                  </a:lnTo>
                  <a:lnTo>
                    <a:pt x="244" y="1058"/>
                  </a:lnTo>
                  <a:lnTo>
                    <a:pt x="242" y="1062"/>
                  </a:lnTo>
                  <a:lnTo>
                    <a:pt x="242" y="1072"/>
                  </a:lnTo>
                  <a:lnTo>
                    <a:pt x="242" y="1076"/>
                  </a:lnTo>
                  <a:lnTo>
                    <a:pt x="238" y="1076"/>
                  </a:lnTo>
                  <a:lnTo>
                    <a:pt x="228" y="1076"/>
                  </a:lnTo>
                  <a:lnTo>
                    <a:pt x="218" y="1076"/>
                  </a:lnTo>
                  <a:lnTo>
                    <a:pt x="206" y="1080"/>
                  </a:lnTo>
                  <a:lnTo>
                    <a:pt x="202" y="1082"/>
                  </a:lnTo>
                  <a:lnTo>
                    <a:pt x="196" y="1086"/>
                  </a:lnTo>
                  <a:lnTo>
                    <a:pt x="194" y="1092"/>
                  </a:lnTo>
                  <a:lnTo>
                    <a:pt x="196" y="1096"/>
                  </a:lnTo>
                  <a:lnTo>
                    <a:pt x="202" y="1100"/>
                  </a:lnTo>
                  <a:lnTo>
                    <a:pt x="206" y="1102"/>
                  </a:lnTo>
                  <a:lnTo>
                    <a:pt x="214" y="1106"/>
                  </a:lnTo>
                  <a:lnTo>
                    <a:pt x="222" y="1106"/>
                  </a:lnTo>
                  <a:lnTo>
                    <a:pt x="226" y="1106"/>
                  </a:lnTo>
                  <a:lnTo>
                    <a:pt x="230" y="1108"/>
                  </a:lnTo>
                  <a:lnTo>
                    <a:pt x="234" y="1110"/>
                  </a:lnTo>
                  <a:lnTo>
                    <a:pt x="234" y="1116"/>
                  </a:lnTo>
                  <a:lnTo>
                    <a:pt x="238" y="1120"/>
                  </a:lnTo>
                  <a:lnTo>
                    <a:pt x="242" y="1126"/>
                  </a:lnTo>
                  <a:lnTo>
                    <a:pt x="242" y="1134"/>
                  </a:lnTo>
                  <a:lnTo>
                    <a:pt x="242" y="1138"/>
                  </a:lnTo>
                  <a:lnTo>
                    <a:pt x="244" y="1142"/>
                  </a:lnTo>
                  <a:lnTo>
                    <a:pt x="248" y="1146"/>
                  </a:lnTo>
                  <a:lnTo>
                    <a:pt x="252" y="1148"/>
                  </a:lnTo>
                  <a:lnTo>
                    <a:pt x="252" y="1154"/>
                  </a:lnTo>
                  <a:lnTo>
                    <a:pt x="252" y="1156"/>
                  </a:lnTo>
                  <a:lnTo>
                    <a:pt x="250" y="1172"/>
                  </a:lnTo>
                  <a:lnTo>
                    <a:pt x="244" y="1196"/>
                  </a:lnTo>
                  <a:lnTo>
                    <a:pt x="242" y="1204"/>
                  </a:lnTo>
                  <a:lnTo>
                    <a:pt x="234" y="1202"/>
                  </a:lnTo>
                  <a:lnTo>
                    <a:pt x="192" y="1194"/>
                  </a:lnTo>
                  <a:lnTo>
                    <a:pt x="176" y="1194"/>
                  </a:lnTo>
                  <a:lnTo>
                    <a:pt x="162" y="1194"/>
                  </a:lnTo>
                  <a:lnTo>
                    <a:pt x="150" y="1194"/>
                  </a:lnTo>
                  <a:lnTo>
                    <a:pt x="140" y="1194"/>
                  </a:lnTo>
                  <a:lnTo>
                    <a:pt x="134" y="1196"/>
                  </a:lnTo>
                  <a:lnTo>
                    <a:pt x="130" y="1198"/>
                  </a:lnTo>
                  <a:lnTo>
                    <a:pt x="128" y="1204"/>
                  </a:lnTo>
                  <a:lnTo>
                    <a:pt x="128" y="1212"/>
                  </a:lnTo>
                  <a:lnTo>
                    <a:pt x="132" y="1226"/>
                  </a:lnTo>
                  <a:lnTo>
                    <a:pt x="134" y="1234"/>
                  </a:lnTo>
                  <a:lnTo>
                    <a:pt x="130" y="1234"/>
                  </a:lnTo>
                  <a:lnTo>
                    <a:pt x="128" y="1234"/>
                  </a:lnTo>
                  <a:lnTo>
                    <a:pt x="128" y="1236"/>
                  </a:lnTo>
                  <a:lnTo>
                    <a:pt x="128" y="1240"/>
                  </a:lnTo>
                  <a:lnTo>
                    <a:pt x="132" y="1246"/>
                  </a:lnTo>
                  <a:lnTo>
                    <a:pt x="134" y="1254"/>
                  </a:lnTo>
                  <a:lnTo>
                    <a:pt x="134" y="1262"/>
                  </a:lnTo>
                  <a:lnTo>
                    <a:pt x="134" y="1264"/>
                  </a:lnTo>
                  <a:lnTo>
                    <a:pt x="134" y="1272"/>
                  </a:lnTo>
                  <a:lnTo>
                    <a:pt x="132" y="1280"/>
                  </a:lnTo>
                  <a:lnTo>
                    <a:pt x="128" y="1286"/>
                  </a:lnTo>
                  <a:lnTo>
                    <a:pt x="128" y="1292"/>
                  </a:lnTo>
                  <a:lnTo>
                    <a:pt x="130" y="1298"/>
                  </a:lnTo>
                  <a:lnTo>
                    <a:pt x="134" y="1304"/>
                  </a:lnTo>
                  <a:lnTo>
                    <a:pt x="134" y="1310"/>
                  </a:lnTo>
                  <a:lnTo>
                    <a:pt x="134" y="1314"/>
                  </a:lnTo>
                  <a:lnTo>
                    <a:pt x="136" y="1316"/>
                  </a:lnTo>
                  <a:lnTo>
                    <a:pt x="138" y="1320"/>
                  </a:lnTo>
                  <a:lnTo>
                    <a:pt x="140" y="1322"/>
                  </a:lnTo>
                  <a:lnTo>
                    <a:pt x="142" y="1322"/>
                  </a:lnTo>
                  <a:lnTo>
                    <a:pt x="146" y="1322"/>
                  </a:lnTo>
                  <a:lnTo>
                    <a:pt x="154" y="1322"/>
                  </a:lnTo>
                  <a:lnTo>
                    <a:pt x="160" y="1322"/>
                  </a:lnTo>
                  <a:lnTo>
                    <a:pt x="164" y="1322"/>
                  </a:lnTo>
                  <a:lnTo>
                    <a:pt x="170" y="1326"/>
                  </a:lnTo>
                  <a:lnTo>
                    <a:pt x="178" y="1334"/>
                  </a:lnTo>
                  <a:lnTo>
                    <a:pt x="184" y="1338"/>
                  </a:lnTo>
                  <a:lnTo>
                    <a:pt x="192" y="1338"/>
                  </a:lnTo>
                  <a:lnTo>
                    <a:pt x="206" y="1334"/>
                  </a:lnTo>
                  <a:lnTo>
                    <a:pt x="220" y="1328"/>
                  </a:lnTo>
                  <a:lnTo>
                    <a:pt x="234" y="1324"/>
                  </a:lnTo>
                  <a:lnTo>
                    <a:pt x="242" y="1320"/>
                  </a:lnTo>
                  <a:lnTo>
                    <a:pt x="246" y="1314"/>
                  </a:lnTo>
                  <a:lnTo>
                    <a:pt x="248" y="1308"/>
                  </a:lnTo>
                  <a:lnTo>
                    <a:pt x="258" y="1296"/>
                  </a:lnTo>
                  <a:lnTo>
                    <a:pt x="266" y="1288"/>
                  </a:lnTo>
                  <a:lnTo>
                    <a:pt x="270" y="1282"/>
                  </a:lnTo>
                  <a:lnTo>
                    <a:pt x="272" y="1276"/>
                  </a:lnTo>
                  <a:lnTo>
                    <a:pt x="274" y="1264"/>
                  </a:lnTo>
                  <a:lnTo>
                    <a:pt x="280" y="1250"/>
                  </a:lnTo>
                  <a:lnTo>
                    <a:pt x="282" y="1244"/>
                  </a:lnTo>
                  <a:lnTo>
                    <a:pt x="288" y="1238"/>
                  </a:lnTo>
                  <a:lnTo>
                    <a:pt x="304" y="1228"/>
                  </a:lnTo>
                  <a:lnTo>
                    <a:pt x="310" y="1224"/>
                  </a:lnTo>
                  <a:lnTo>
                    <a:pt x="316" y="1216"/>
                  </a:lnTo>
                  <a:lnTo>
                    <a:pt x="318" y="1212"/>
                  </a:lnTo>
                  <a:lnTo>
                    <a:pt x="322" y="1206"/>
                  </a:lnTo>
                  <a:lnTo>
                    <a:pt x="326" y="1204"/>
                  </a:lnTo>
                  <a:lnTo>
                    <a:pt x="340" y="1204"/>
                  </a:lnTo>
                  <a:lnTo>
                    <a:pt x="342" y="1204"/>
                  </a:lnTo>
                  <a:lnTo>
                    <a:pt x="350" y="1202"/>
                  </a:lnTo>
                  <a:lnTo>
                    <a:pt x="358" y="1200"/>
                  </a:lnTo>
                  <a:lnTo>
                    <a:pt x="374" y="1188"/>
                  </a:lnTo>
                  <a:lnTo>
                    <a:pt x="380" y="1186"/>
                  </a:lnTo>
                  <a:lnTo>
                    <a:pt x="386" y="1184"/>
                  </a:lnTo>
                  <a:lnTo>
                    <a:pt x="390" y="1182"/>
                  </a:lnTo>
                  <a:lnTo>
                    <a:pt x="396" y="1180"/>
                  </a:lnTo>
                  <a:lnTo>
                    <a:pt x="402" y="1178"/>
                  </a:lnTo>
                  <a:lnTo>
                    <a:pt x="408" y="1178"/>
                  </a:lnTo>
                  <a:lnTo>
                    <a:pt x="412" y="1180"/>
                  </a:lnTo>
                  <a:lnTo>
                    <a:pt x="420" y="1186"/>
                  </a:lnTo>
                  <a:lnTo>
                    <a:pt x="424" y="1192"/>
                  </a:lnTo>
                  <a:lnTo>
                    <a:pt x="436" y="1208"/>
                  </a:lnTo>
                  <a:lnTo>
                    <a:pt x="444" y="1220"/>
                  </a:lnTo>
                  <a:lnTo>
                    <a:pt x="446" y="1226"/>
                  </a:lnTo>
                  <a:lnTo>
                    <a:pt x="450" y="1232"/>
                  </a:lnTo>
                  <a:lnTo>
                    <a:pt x="456" y="1236"/>
                  </a:lnTo>
                  <a:lnTo>
                    <a:pt x="482" y="1250"/>
                  </a:lnTo>
                  <a:lnTo>
                    <a:pt x="488" y="1254"/>
                  </a:lnTo>
                  <a:lnTo>
                    <a:pt x="492" y="1260"/>
                  </a:lnTo>
                  <a:lnTo>
                    <a:pt x="502" y="1274"/>
                  </a:lnTo>
                  <a:lnTo>
                    <a:pt x="506" y="1282"/>
                  </a:lnTo>
                  <a:lnTo>
                    <a:pt x="506" y="1290"/>
                  </a:lnTo>
                  <a:lnTo>
                    <a:pt x="506" y="1304"/>
                  </a:lnTo>
                  <a:lnTo>
                    <a:pt x="506" y="1312"/>
                  </a:lnTo>
                  <a:lnTo>
                    <a:pt x="508" y="1316"/>
                  </a:lnTo>
                  <a:lnTo>
                    <a:pt x="510" y="1316"/>
                  </a:lnTo>
                  <a:lnTo>
                    <a:pt x="512" y="1316"/>
                  </a:lnTo>
                  <a:lnTo>
                    <a:pt x="514" y="1312"/>
                  </a:lnTo>
                  <a:lnTo>
                    <a:pt x="518" y="1302"/>
                  </a:lnTo>
                  <a:lnTo>
                    <a:pt x="522" y="1294"/>
                  </a:lnTo>
                  <a:lnTo>
                    <a:pt x="524" y="1288"/>
                  </a:lnTo>
                  <a:lnTo>
                    <a:pt x="526" y="1282"/>
                  </a:lnTo>
                  <a:lnTo>
                    <a:pt x="528" y="1274"/>
                  </a:lnTo>
                  <a:lnTo>
                    <a:pt x="528" y="1270"/>
                  </a:lnTo>
                  <a:lnTo>
                    <a:pt x="528" y="1268"/>
                  </a:lnTo>
                  <a:lnTo>
                    <a:pt x="530" y="1266"/>
                  </a:lnTo>
                  <a:lnTo>
                    <a:pt x="532" y="1266"/>
                  </a:lnTo>
                  <a:lnTo>
                    <a:pt x="534" y="1266"/>
                  </a:lnTo>
                  <a:lnTo>
                    <a:pt x="540" y="1268"/>
                  </a:lnTo>
                  <a:lnTo>
                    <a:pt x="552" y="1272"/>
                  </a:lnTo>
                  <a:lnTo>
                    <a:pt x="554" y="1272"/>
                  </a:lnTo>
                  <a:lnTo>
                    <a:pt x="554" y="1270"/>
                  </a:lnTo>
                  <a:lnTo>
                    <a:pt x="552" y="1266"/>
                  </a:lnTo>
                  <a:lnTo>
                    <a:pt x="534" y="1248"/>
                  </a:lnTo>
                  <a:lnTo>
                    <a:pt x="520" y="1240"/>
                  </a:lnTo>
                  <a:lnTo>
                    <a:pt x="516" y="1236"/>
                  </a:lnTo>
                  <a:lnTo>
                    <a:pt x="504" y="1228"/>
                  </a:lnTo>
                  <a:lnTo>
                    <a:pt x="494" y="1216"/>
                  </a:lnTo>
                  <a:lnTo>
                    <a:pt x="484" y="1200"/>
                  </a:lnTo>
                  <a:lnTo>
                    <a:pt x="476" y="1188"/>
                  </a:lnTo>
                  <a:lnTo>
                    <a:pt x="472" y="1182"/>
                  </a:lnTo>
                  <a:lnTo>
                    <a:pt x="470" y="1174"/>
                  </a:lnTo>
                  <a:lnTo>
                    <a:pt x="468" y="1166"/>
                  </a:lnTo>
                  <a:lnTo>
                    <a:pt x="468" y="1164"/>
                  </a:lnTo>
                  <a:lnTo>
                    <a:pt x="470" y="1158"/>
                  </a:lnTo>
                  <a:lnTo>
                    <a:pt x="474" y="1156"/>
                  </a:lnTo>
                  <a:lnTo>
                    <a:pt x="478" y="1154"/>
                  </a:lnTo>
                  <a:lnTo>
                    <a:pt x="482" y="1156"/>
                  </a:lnTo>
                  <a:lnTo>
                    <a:pt x="488" y="1156"/>
                  </a:lnTo>
                  <a:lnTo>
                    <a:pt x="496" y="1162"/>
                  </a:lnTo>
                  <a:lnTo>
                    <a:pt x="502" y="1168"/>
                  </a:lnTo>
                  <a:lnTo>
                    <a:pt x="508" y="1176"/>
                  </a:lnTo>
                  <a:lnTo>
                    <a:pt x="510" y="1182"/>
                  </a:lnTo>
                  <a:lnTo>
                    <a:pt x="516" y="1196"/>
                  </a:lnTo>
                  <a:lnTo>
                    <a:pt x="520" y="1204"/>
                  </a:lnTo>
                  <a:lnTo>
                    <a:pt x="524" y="1208"/>
                  </a:lnTo>
                  <a:lnTo>
                    <a:pt x="540" y="1220"/>
                  </a:lnTo>
                  <a:lnTo>
                    <a:pt x="548" y="1224"/>
                  </a:lnTo>
                  <a:lnTo>
                    <a:pt x="552" y="1230"/>
                  </a:lnTo>
                  <a:lnTo>
                    <a:pt x="560" y="1238"/>
                  </a:lnTo>
                  <a:lnTo>
                    <a:pt x="564" y="1244"/>
                  </a:lnTo>
                  <a:lnTo>
                    <a:pt x="566" y="1248"/>
                  </a:lnTo>
                  <a:lnTo>
                    <a:pt x="570" y="1260"/>
                  </a:lnTo>
                  <a:lnTo>
                    <a:pt x="572" y="1266"/>
                  </a:lnTo>
                  <a:lnTo>
                    <a:pt x="576" y="1272"/>
                  </a:lnTo>
                  <a:lnTo>
                    <a:pt x="580" y="1280"/>
                  </a:lnTo>
                  <a:lnTo>
                    <a:pt x="584" y="1286"/>
                  </a:lnTo>
                  <a:lnTo>
                    <a:pt x="588" y="1290"/>
                  </a:lnTo>
                  <a:lnTo>
                    <a:pt x="594" y="1292"/>
                  </a:lnTo>
                  <a:lnTo>
                    <a:pt x="598" y="1292"/>
                  </a:lnTo>
                  <a:lnTo>
                    <a:pt x="602" y="1294"/>
                  </a:lnTo>
                  <a:lnTo>
                    <a:pt x="602" y="1296"/>
                  </a:lnTo>
                  <a:lnTo>
                    <a:pt x="602" y="1298"/>
                  </a:lnTo>
                  <a:lnTo>
                    <a:pt x="598" y="1304"/>
                  </a:lnTo>
                  <a:lnTo>
                    <a:pt x="596" y="1310"/>
                  </a:lnTo>
                  <a:lnTo>
                    <a:pt x="596" y="1314"/>
                  </a:lnTo>
                  <a:lnTo>
                    <a:pt x="598" y="1320"/>
                  </a:lnTo>
                  <a:lnTo>
                    <a:pt x="604" y="1326"/>
                  </a:lnTo>
                  <a:lnTo>
                    <a:pt x="608" y="1328"/>
                  </a:lnTo>
                  <a:lnTo>
                    <a:pt x="616" y="1330"/>
                  </a:lnTo>
                  <a:lnTo>
                    <a:pt x="620" y="1326"/>
                  </a:lnTo>
                  <a:lnTo>
                    <a:pt x="624" y="1322"/>
                  </a:lnTo>
                  <a:lnTo>
                    <a:pt x="626" y="1316"/>
                  </a:lnTo>
                  <a:lnTo>
                    <a:pt x="628" y="1312"/>
                  </a:lnTo>
                  <a:lnTo>
                    <a:pt x="632" y="1308"/>
                  </a:lnTo>
                  <a:lnTo>
                    <a:pt x="638" y="1306"/>
                  </a:lnTo>
                  <a:lnTo>
                    <a:pt x="640" y="1304"/>
                  </a:lnTo>
                  <a:lnTo>
                    <a:pt x="642" y="1302"/>
                  </a:lnTo>
                  <a:lnTo>
                    <a:pt x="640" y="1300"/>
                  </a:lnTo>
                  <a:lnTo>
                    <a:pt x="640" y="1296"/>
                  </a:lnTo>
                  <a:lnTo>
                    <a:pt x="632" y="1288"/>
                  </a:lnTo>
                  <a:lnTo>
                    <a:pt x="628" y="1282"/>
                  </a:lnTo>
                  <a:lnTo>
                    <a:pt x="626" y="1278"/>
                  </a:lnTo>
                  <a:lnTo>
                    <a:pt x="624" y="1272"/>
                  </a:lnTo>
                  <a:lnTo>
                    <a:pt x="620" y="1268"/>
                  </a:lnTo>
                  <a:lnTo>
                    <a:pt x="620" y="1266"/>
                  </a:lnTo>
                  <a:lnTo>
                    <a:pt x="620" y="1264"/>
                  </a:lnTo>
                  <a:lnTo>
                    <a:pt x="624" y="1260"/>
                  </a:lnTo>
                  <a:lnTo>
                    <a:pt x="638" y="1256"/>
                  </a:lnTo>
                  <a:lnTo>
                    <a:pt x="652" y="1254"/>
                  </a:lnTo>
                  <a:lnTo>
                    <a:pt x="656" y="1254"/>
                  </a:lnTo>
                  <a:lnTo>
                    <a:pt x="664" y="1254"/>
                  </a:lnTo>
                  <a:lnTo>
                    <a:pt x="668" y="1260"/>
                  </a:lnTo>
                  <a:lnTo>
                    <a:pt x="670" y="1266"/>
                  </a:lnTo>
                  <a:lnTo>
                    <a:pt x="674" y="1272"/>
                  </a:lnTo>
                  <a:lnTo>
                    <a:pt x="678" y="1280"/>
                  </a:lnTo>
                  <a:lnTo>
                    <a:pt x="680" y="1284"/>
                  </a:lnTo>
                  <a:lnTo>
                    <a:pt x="688" y="1300"/>
                  </a:lnTo>
                  <a:lnTo>
                    <a:pt x="690" y="1304"/>
                  </a:lnTo>
                  <a:lnTo>
                    <a:pt x="698" y="1318"/>
                  </a:lnTo>
                  <a:lnTo>
                    <a:pt x="700" y="1324"/>
                  </a:lnTo>
                  <a:lnTo>
                    <a:pt x="704" y="1328"/>
                  </a:lnTo>
                  <a:lnTo>
                    <a:pt x="712" y="1330"/>
                  </a:lnTo>
                  <a:lnTo>
                    <a:pt x="734" y="1330"/>
                  </a:lnTo>
                  <a:lnTo>
                    <a:pt x="748" y="1330"/>
                  </a:lnTo>
                  <a:lnTo>
                    <a:pt x="760" y="1334"/>
                  </a:lnTo>
                  <a:lnTo>
                    <a:pt x="774" y="1338"/>
                  </a:lnTo>
                  <a:lnTo>
                    <a:pt x="782" y="1338"/>
                  </a:lnTo>
                  <a:lnTo>
                    <a:pt x="788" y="1338"/>
                  </a:lnTo>
                  <a:lnTo>
                    <a:pt x="794" y="1334"/>
                  </a:lnTo>
                  <a:lnTo>
                    <a:pt x="802" y="1332"/>
                  </a:lnTo>
                  <a:lnTo>
                    <a:pt x="808" y="1334"/>
                  </a:lnTo>
                  <a:lnTo>
                    <a:pt x="814" y="1338"/>
                  </a:lnTo>
                  <a:lnTo>
                    <a:pt x="820" y="1340"/>
                  </a:lnTo>
                  <a:lnTo>
                    <a:pt x="824" y="1348"/>
                  </a:lnTo>
                  <a:lnTo>
                    <a:pt x="826" y="1354"/>
                  </a:lnTo>
                  <a:lnTo>
                    <a:pt x="828" y="1360"/>
                  </a:lnTo>
                  <a:lnTo>
                    <a:pt x="828" y="1368"/>
                  </a:lnTo>
                  <a:lnTo>
                    <a:pt x="814" y="1402"/>
                  </a:lnTo>
                  <a:lnTo>
                    <a:pt x="810" y="1408"/>
                  </a:lnTo>
                  <a:lnTo>
                    <a:pt x="806" y="1410"/>
                  </a:lnTo>
                  <a:lnTo>
                    <a:pt x="802" y="1412"/>
                  </a:lnTo>
                  <a:lnTo>
                    <a:pt x="798" y="1416"/>
                  </a:lnTo>
                  <a:lnTo>
                    <a:pt x="796" y="1422"/>
                  </a:lnTo>
                  <a:lnTo>
                    <a:pt x="792" y="1428"/>
                  </a:lnTo>
                  <a:lnTo>
                    <a:pt x="786" y="1434"/>
                  </a:lnTo>
                  <a:lnTo>
                    <a:pt x="780" y="1438"/>
                  </a:lnTo>
                  <a:lnTo>
                    <a:pt x="774" y="1438"/>
                  </a:lnTo>
                  <a:lnTo>
                    <a:pt x="760" y="1438"/>
                  </a:lnTo>
                  <a:lnTo>
                    <a:pt x="754" y="1438"/>
                  </a:lnTo>
                  <a:lnTo>
                    <a:pt x="748" y="1434"/>
                  </a:lnTo>
                  <a:lnTo>
                    <a:pt x="742" y="1430"/>
                  </a:lnTo>
                  <a:lnTo>
                    <a:pt x="734" y="1430"/>
                  </a:lnTo>
                  <a:lnTo>
                    <a:pt x="712" y="1436"/>
                  </a:lnTo>
                  <a:lnTo>
                    <a:pt x="704" y="1438"/>
                  </a:lnTo>
                  <a:lnTo>
                    <a:pt x="696" y="1436"/>
                  </a:lnTo>
                  <a:lnTo>
                    <a:pt x="682" y="1432"/>
                  </a:lnTo>
                  <a:lnTo>
                    <a:pt x="666" y="1428"/>
                  </a:lnTo>
                  <a:lnTo>
                    <a:pt x="662" y="1428"/>
                  </a:lnTo>
                  <a:lnTo>
                    <a:pt x="656" y="1428"/>
                  </a:lnTo>
                  <a:lnTo>
                    <a:pt x="650" y="1424"/>
                  </a:lnTo>
                  <a:lnTo>
                    <a:pt x="638" y="1416"/>
                  </a:lnTo>
                  <a:lnTo>
                    <a:pt x="632" y="1412"/>
                  </a:lnTo>
                  <a:lnTo>
                    <a:pt x="626" y="1410"/>
                  </a:lnTo>
                  <a:lnTo>
                    <a:pt x="618" y="1410"/>
                  </a:lnTo>
                  <a:lnTo>
                    <a:pt x="614" y="1410"/>
                  </a:lnTo>
                  <a:lnTo>
                    <a:pt x="598" y="1412"/>
                  </a:lnTo>
                  <a:lnTo>
                    <a:pt x="584" y="1416"/>
                  </a:lnTo>
                  <a:lnTo>
                    <a:pt x="578" y="1420"/>
                  </a:lnTo>
                  <a:lnTo>
                    <a:pt x="576" y="1428"/>
                  </a:lnTo>
                  <a:lnTo>
                    <a:pt x="576" y="1430"/>
                  </a:lnTo>
                  <a:lnTo>
                    <a:pt x="574" y="1438"/>
                  </a:lnTo>
                  <a:lnTo>
                    <a:pt x="570" y="1442"/>
                  </a:lnTo>
                  <a:lnTo>
                    <a:pt x="554" y="1446"/>
                  </a:lnTo>
                  <a:lnTo>
                    <a:pt x="548" y="1446"/>
                  </a:lnTo>
                  <a:lnTo>
                    <a:pt x="542" y="1442"/>
                  </a:lnTo>
                  <a:lnTo>
                    <a:pt x="534" y="1434"/>
                  </a:lnTo>
                  <a:lnTo>
                    <a:pt x="522" y="1424"/>
                  </a:lnTo>
                  <a:lnTo>
                    <a:pt x="512" y="1414"/>
                  </a:lnTo>
                  <a:lnTo>
                    <a:pt x="508" y="1410"/>
                  </a:lnTo>
                  <a:lnTo>
                    <a:pt x="500" y="1410"/>
                  </a:lnTo>
                  <a:lnTo>
                    <a:pt x="476" y="1410"/>
                  </a:lnTo>
                  <a:lnTo>
                    <a:pt x="470" y="1408"/>
                  </a:lnTo>
                  <a:lnTo>
                    <a:pt x="462" y="1406"/>
                  </a:lnTo>
                  <a:lnTo>
                    <a:pt x="456" y="1404"/>
                  </a:lnTo>
                  <a:lnTo>
                    <a:pt x="442" y="1396"/>
                  </a:lnTo>
                  <a:lnTo>
                    <a:pt x="436" y="1394"/>
                  </a:lnTo>
                  <a:lnTo>
                    <a:pt x="424" y="1386"/>
                  </a:lnTo>
                  <a:lnTo>
                    <a:pt x="422" y="1380"/>
                  </a:lnTo>
                  <a:lnTo>
                    <a:pt x="424" y="1374"/>
                  </a:lnTo>
                  <a:lnTo>
                    <a:pt x="434" y="1358"/>
                  </a:lnTo>
                  <a:lnTo>
                    <a:pt x="436" y="1350"/>
                  </a:lnTo>
                  <a:lnTo>
                    <a:pt x="436" y="1344"/>
                  </a:lnTo>
                  <a:lnTo>
                    <a:pt x="434" y="1338"/>
                  </a:lnTo>
                  <a:lnTo>
                    <a:pt x="428" y="1332"/>
                  </a:lnTo>
                  <a:lnTo>
                    <a:pt x="422" y="1328"/>
                  </a:lnTo>
                  <a:lnTo>
                    <a:pt x="418" y="1326"/>
                  </a:lnTo>
                  <a:lnTo>
                    <a:pt x="406" y="1322"/>
                  </a:lnTo>
                  <a:lnTo>
                    <a:pt x="402" y="1322"/>
                  </a:lnTo>
                  <a:lnTo>
                    <a:pt x="400" y="1324"/>
                  </a:lnTo>
                  <a:lnTo>
                    <a:pt x="400" y="1328"/>
                  </a:lnTo>
                  <a:lnTo>
                    <a:pt x="400" y="1324"/>
                  </a:lnTo>
                  <a:lnTo>
                    <a:pt x="398" y="1324"/>
                  </a:lnTo>
                  <a:lnTo>
                    <a:pt x="396" y="1326"/>
                  </a:lnTo>
                  <a:lnTo>
                    <a:pt x="390" y="1330"/>
                  </a:lnTo>
                  <a:lnTo>
                    <a:pt x="382" y="1332"/>
                  </a:lnTo>
                  <a:lnTo>
                    <a:pt x="378" y="1332"/>
                  </a:lnTo>
                  <a:lnTo>
                    <a:pt x="362" y="1332"/>
                  </a:lnTo>
                  <a:lnTo>
                    <a:pt x="320" y="1332"/>
                  </a:lnTo>
                  <a:lnTo>
                    <a:pt x="312" y="1332"/>
                  </a:lnTo>
                  <a:lnTo>
                    <a:pt x="304" y="1334"/>
                  </a:lnTo>
                  <a:lnTo>
                    <a:pt x="270" y="1348"/>
                  </a:lnTo>
                  <a:lnTo>
                    <a:pt x="254" y="1354"/>
                  </a:lnTo>
                  <a:lnTo>
                    <a:pt x="250" y="1358"/>
                  </a:lnTo>
                  <a:lnTo>
                    <a:pt x="244" y="1360"/>
                  </a:lnTo>
                  <a:lnTo>
                    <a:pt x="242" y="1362"/>
                  </a:lnTo>
                  <a:lnTo>
                    <a:pt x="242" y="1364"/>
                  </a:lnTo>
                  <a:lnTo>
                    <a:pt x="242" y="1362"/>
                  </a:lnTo>
                  <a:lnTo>
                    <a:pt x="240" y="1362"/>
                  </a:lnTo>
                  <a:lnTo>
                    <a:pt x="238" y="1360"/>
                  </a:lnTo>
                  <a:lnTo>
                    <a:pt x="224" y="1360"/>
                  </a:lnTo>
                  <a:lnTo>
                    <a:pt x="220" y="1360"/>
                  </a:lnTo>
                  <a:lnTo>
                    <a:pt x="208" y="1360"/>
                  </a:lnTo>
                  <a:lnTo>
                    <a:pt x="196" y="1356"/>
                  </a:lnTo>
                  <a:lnTo>
                    <a:pt x="190" y="1354"/>
                  </a:lnTo>
                  <a:lnTo>
                    <a:pt x="188" y="1354"/>
                  </a:lnTo>
                  <a:lnTo>
                    <a:pt x="184" y="1354"/>
                  </a:lnTo>
                  <a:lnTo>
                    <a:pt x="182" y="1356"/>
                  </a:lnTo>
                  <a:lnTo>
                    <a:pt x="180" y="1358"/>
                  </a:lnTo>
                  <a:lnTo>
                    <a:pt x="168" y="1374"/>
                  </a:lnTo>
                  <a:lnTo>
                    <a:pt x="158" y="1386"/>
                  </a:lnTo>
                  <a:lnTo>
                    <a:pt x="150" y="1394"/>
                  </a:lnTo>
                  <a:lnTo>
                    <a:pt x="140" y="1406"/>
                  </a:lnTo>
                  <a:lnTo>
                    <a:pt x="130" y="1422"/>
                  </a:lnTo>
                  <a:lnTo>
                    <a:pt x="122" y="1436"/>
                  </a:lnTo>
                  <a:lnTo>
                    <a:pt x="116" y="1460"/>
                  </a:lnTo>
                  <a:lnTo>
                    <a:pt x="114" y="1466"/>
                  </a:lnTo>
                  <a:lnTo>
                    <a:pt x="108" y="1472"/>
                  </a:lnTo>
                  <a:lnTo>
                    <a:pt x="82" y="1484"/>
                  </a:lnTo>
                  <a:lnTo>
                    <a:pt x="70" y="1492"/>
                  </a:lnTo>
                  <a:lnTo>
                    <a:pt x="66" y="1498"/>
                  </a:lnTo>
                  <a:lnTo>
                    <a:pt x="62" y="1502"/>
                  </a:lnTo>
                  <a:lnTo>
                    <a:pt x="52" y="1514"/>
                  </a:lnTo>
                  <a:lnTo>
                    <a:pt x="32" y="1550"/>
                  </a:lnTo>
                  <a:lnTo>
                    <a:pt x="24" y="1564"/>
                  </a:lnTo>
                  <a:lnTo>
                    <a:pt x="12" y="1598"/>
                  </a:lnTo>
                  <a:lnTo>
                    <a:pt x="8" y="1606"/>
                  </a:lnTo>
                  <a:lnTo>
                    <a:pt x="10" y="1614"/>
                  </a:lnTo>
                  <a:lnTo>
                    <a:pt x="16" y="1626"/>
                  </a:lnTo>
                  <a:lnTo>
                    <a:pt x="18" y="1642"/>
                  </a:lnTo>
                  <a:lnTo>
                    <a:pt x="18" y="1666"/>
                  </a:lnTo>
                  <a:lnTo>
                    <a:pt x="16" y="1672"/>
                  </a:lnTo>
                  <a:lnTo>
                    <a:pt x="12" y="1678"/>
                  </a:lnTo>
                  <a:lnTo>
                    <a:pt x="8" y="1684"/>
                  </a:lnTo>
                  <a:lnTo>
                    <a:pt x="6" y="1692"/>
                  </a:lnTo>
                  <a:lnTo>
                    <a:pt x="0" y="1706"/>
                  </a:lnTo>
                  <a:lnTo>
                    <a:pt x="0" y="1712"/>
                  </a:lnTo>
                  <a:lnTo>
                    <a:pt x="0" y="1720"/>
                  </a:lnTo>
                  <a:lnTo>
                    <a:pt x="6" y="1744"/>
                  </a:lnTo>
                  <a:lnTo>
                    <a:pt x="8" y="1750"/>
                  </a:lnTo>
                  <a:lnTo>
                    <a:pt x="12" y="1752"/>
                  </a:lnTo>
                  <a:lnTo>
                    <a:pt x="18" y="1752"/>
                  </a:lnTo>
                  <a:lnTo>
                    <a:pt x="20" y="1752"/>
                  </a:lnTo>
                  <a:lnTo>
                    <a:pt x="18" y="1752"/>
                  </a:lnTo>
                  <a:lnTo>
                    <a:pt x="20" y="1760"/>
                  </a:lnTo>
                  <a:lnTo>
                    <a:pt x="24" y="1764"/>
                  </a:lnTo>
                  <a:lnTo>
                    <a:pt x="26" y="1768"/>
                  </a:lnTo>
                  <a:lnTo>
                    <a:pt x="30" y="1770"/>
                  </a:lnTo>
                  <a:lnTo>
                    <a:pt x="32" y="1768"/>
                  </a:lnTo>
                  <a:lnTo>
                    <a:pt x="30" y="1770"/>
                  </a:lnTo>
                  <a:lnTo>
                    <a:pt x="30" y="1772"/>
                  </a:lnTo>
                  <a:lnTo>
                    <a:pt x="32" y="1772"/>
                  </a:lnTo>
                  <a:lnTo>
                    <a:pt x="36" y="1774"/>
                  </a:lnTo>
                  <a:lnTo>
                    <a:pt x="40" y="1778"/>
                  </a:lnTo>
                  <a:lnTo>
                    <a:pt x="52" y="1804"/>
                  </a:lnTo>
                  <a:lnTo>
                    <a:pt x="56" y="1810"/>
                  </a:lnTo>
                  <a:lnTo>
                    <a:pt x="60" y="1816"/>
                  </a:lnTo>
                  <a:lnTo>
                    <a:pt x="72" y="1824"/>
                  </a:lnTo>
                  <a:lnTo>
                    <a:pt x="84" y="1832"/>
                  </a:lnTo>
                  <a:lnTo>
                    <a:pt x="94" y="1838"/>
                  </a:lnTo>
                  <a:lnTo>
                    <a:pt x="102" y="1844"/>
                  </a:lnTo>
                  <a:lnTo>
                    <a:pt x="128" y="1864"/>
                  </a:lnTo>
                  <a:lnTo>
                    <a:pt x="136" y="1868"/>
                  </a:lnTo>
                  <a:lnTo>
                    <a:pt x="142" y="1870"/>
                  </a:lnTo>
                  <a:lnTo>
                    <a:pt x="146" y="1870"/>
                  </a:lnTo>
                  <a:lnTo>
                    <a:pt x="152" y="1868"/>
                  </a:lnTo>
                  <a:lnTo>
                    <a:pt x="154" y="1868"/>
                  </a:lnTo>
                  <a:lnTo>
                    <a:pt x="154" y="1866"/>
                  </a:lnTo>
                  <a:lnTo>
                    <a:pt x="154" y="1868"/>
                  </a:lnTo>
                  <a:lnTo>
                    <a:pt x="158" y="1868"/>
                  </a:lnTo>
                  <a:lnTo>
                    <a:pt x="162" y="1870"/>
                  </a:lnTo>
                  <a:lnTo>
                    <a:pt x="166" y="1870"/>
                  </a:lnTo>
                  <a:lnTo>
                    <a:pt x="182" y="1868"/>
                  </a:lnTo>
                  <a:lnTo>
                    <a:pt x="206" y="1862"/>
                  </a:lnTo>
                  <a:lnTo>
                    <a:pt x="218" y="1860"/>
                  </a:lnTo>
                  <a:lnTo>
                    <a:pt x="224" y="1860"/>
                  </a:lnTo>
                  <a:lnTo>
                    <a:pt x="232" y="1860"/>
                  </a:lnTo>
                  <a:lnTo>
                    <a:pt x="244" y="1860"/>
                  </a:lnTo>
                  <a:lnTo>
                    <a:pt x="260" y="1856"/>
                  </a:lnTo>
                  <a:lnTo>
                    <a:pt x="274" y="1852"/>
                  </a:lnTo>
                  <a:lnTo>
                    <a:pt x="282" y="1850"/>
                  </a:lnTo>
                  <a:lnTo>
                    <a:pt x="288" y="1844"/>
                  </a:lnTo>
                  <a:lnTo>
                    <a:pt x="294" y="1842"/>
                  </a:lnTo>
                  <a:lnTo>
                    <a:pt x="300" y="1838"/>
                  </a:lnTo>
                  <a:lnTo>
                    <a:pt x="306" y="1838"/>
                  </a:lnTo>
                  <a:lnTo>
                    <a:pt x="312" y="1840"/>
                  </a:lnTo>
                  <a:lnTo>
                    <a:pt x="320" y="1840"/>
                  </a:lnTo>
                  <a:lnTo>
                    <a:pt x="322" y="1840"/>
                  </a:lnTo>
                  <a:lnTo>
                    <a:pt x="330" y="1842"/>
                  </a:lnTo>
                  <a:lnTo>
                    <a:pt x="334" y="1846"/>
                  </a:lnTo>
                  <a:lnTo>
                    <a:pt x="346" y="1862"/>
                  </a:lnTo>
                  <a:lnTo>
                    <a:pt x="352" y="1868"/>
                  </a:lnTo>
                  <a:lnTo>
                    <a:pt x="358" y="1870"/>
                  </a:lnTo>
                  <a:lnTo>
                    <a:pt x="362" y="1870"/>
                  </a:lnTo>
                  <a:lnTo>
                    <a:pt x="370" y="1870"/>
                  </a:lnTo>
                  <a:lnTo>
                    <a:pt x="378" y="1874"/>
                  </a:lnTo>
                  <a:lnTo>
                    <a:pt x="384" y="1876"/>
                  </a:lnTo>
                  <a:lnTo>
                    <a:pt x="388" y="1878"/>
                  </a:lnTo>
                  <a:lnTo>
                    <a:pt x="392" y="1878"/>
                  </a:lnTo>
                  <a:lnTo>
                    <a:pt x="392" y="1876"/>
                  </a:lnTo>
                  <a:lnTo>
                    <a:pt x="392" y="1878"/>
                  </a:lnTo>
                  <a:lnTo>
                    <a:pt x="394" y="1878"/>
                  </a:lnTo>
                  <a:lnTo>
                    <a:pt x="398" y="1878"/>
                  </a:lnTo>
                  <a:lnTo>
                    <a:pt x="404" y="1880"/>
                  </a:lnTo>
                  <a:lnTo>
                    <a:pt x="408" y="1884"/>
                  </a:lnTo>
                  <a:lnTo>
                    <a:pt x="410" y="1890"/>
                  </a:lnTo>
                  <a:lnTo>
                    <a:pt x="410" y="1896"/>
                  </a:lnTo>
                  <a:lnTo>
                    <a:pt x="410" y="1900"/>
                  </a:lnTo>
                  <a:lnTo>
                    <a:pt x="410" y="1908"/>
                  </a:lnTo>
                  <a:lnTo>
                    <a:pt x="410" y="1916"/>
                  </a:lnTo>
                  <a:lnTo>
                    <a:pt x="410" y="1920"/>
                  </a:lnTo>
                  <a:lnTo>
                    <a:pt x="410" y="1936"/>
                  </a:lnTo>
                  <a:lnTo>
                    <a:pt x="410" y="1950"/>
                  </a:lnTo>
                  <a:lnTo>
                    <a:pt x="412" y="1956"/>
                  </a:lnTo>
                  <a:lnTo>
                    <a:pt x="414" y="1964"/>
                  </a:lnTo>
                  <a:lnTo>
                    <a:pt x="434" y="1990"/>
                  </a:lnTo>
                  <a:lnTo>
                    <a:pt x="438" y="1994"/>
                  </a:lnTo>
                  <a:lnTo>
                    <a:pt x="440" y="1994"/>
                  </a:lnTo>
                  <a:lnTo>
                    <a:pt x="442" y="1994"/>
                  </a:lnTo>
                  <a:lnTo>
                    <a:pt x="440" y="1996"/>
                  </a:lnTo>
                  <a:lnTo>
                    <a:pt x="440" y="1998"/>
                  </a:lnTo>
                  <a:lnTo>
                    <a:pt x="444" y="2002"/>
                  </a:lnTo>
                  <a:lnTo>
                    <a:pt x="452" y="2014"/>
                  </a:lnTo>
                  <a:lnTo>
                    <a:pt x="456" y="2020"/>
                  </a:lnTo>
                  <a:lnTo>
                    <a:pt x="458" y="2026"/>
                  </a:lnTo>
                  <a:lnTo>
                    <a:pt x="458" y="2034"/>
                  </a:lnTo>
                  <a:lnTo>
                    <a:pt x="458" y="2038"/>
                  </a:lnTo>
                  <a:lnTo>
                    <a:pt x="458" y="2046"/>
                  </a:lnTo>
                  <a:lnTo>
                    <a:pt x="460" y="2054"/>
                  </a:lnTo>
                  <a:lnTo>
                    <a:pt x="468" y="2096"/>
                  </a:lnTo>
                  <a:lnTo>
                    <a:pt x="472" y="2112"/>
                  </a:lnTo>
                  <a:lnTo>
                    <a:pt x="476" y="2124"/>
                  </a:lnTo>
                  <a:lnTo>
                    <a:pt x="478" y="2134"/>
                  </a:lnTo>
                  <a:lnTo>
                    <a:pt x="472" y="2144"/>
                  </a:lnTo>
                  <a:lnTo>
                    <a:pt x="462" y="2166"/>
                  </a:lnTo>
                  <a:lnTo>
                    <a:pt x="460" y="2172"/>
                  </a:lnTo>
                  <a:lnTo>
                    <a:pt x="458" y="2180"/>
                  </a:lnTo>
                  <a:lnTo>
                    <a:pt x="458" y="2204"/>
                  </a:lnTo>
                  <a:lnTo>
                    <a:pt x="460" y="2212"/>
                  </a:lnTo>
                  <a:lnTo>
                    <a:pt x="460" y="2210"/>
                  </a:lnTo>
                  <a:lnTo>
                    <a:pt x="460" y="2212"/>
                  </a:lnTo>
                  <a:lnTo>
                    <a:pt x="456" y="2220"/>
                  </a:lnTo>
                  <a:lnTo>
                    <a:pt x="452" y="2234"/>
                  </a:lnTo>
                  <a:lnTo>
                    <a:pt x="450" y="2242"/>
                  </a:lnTo>
                  <a:lnTo>
                    <a:pt x="452" y="2248"/>
                  </a:lnTo>
                  <a:lnTo>
                    <a:pt x="484" y="2302"/>
                  </a:lnTo>
                  <a:lnTo>
                    <a:pt x="488" y="2308"/>
                  </a:lnTo>
                  <a:lnTo>
                    <a:pt x="488" y="2314"/>
                  </a:lnTo>
                  <a:lnTo>
                    <a:pt x="490" y="2328"/>
                  </a:lnTo>
                  <a:lnTo>
                    <a:pt x="496" y="2380"/>
                  </a:lnTo>
                  <a:lnTo>
                    <a:pt x="500" y="2386"/>
                  </a:lnTo>
                  <a:lnTo>
                    <a:pt x="504" y="2392"/>
                  </a:lnTo>
                  <a:lnTo>
                    <a:pt x="520" y="2402"/>
                  </a:lnTo>
                  <a:lnTo>
                    <a:pt x="528" y="2406"/>
                  </a:lnTo>
                  <a:lnTo>
                    <a:pt x="528" y="2404"/>
                  </a:lnTo>
                  <a:lnTo>
                    <a:pt x="528" y="2406"/>
                  </a:lnTo>
                  <a:lnTo>
                    <a:pt x="532" y="2414"/>
                  </a:lnTo>
                  <a:lnTo>
                    <a:pt x="534" y="2420"/>
                  </a:lnTo>
                  <a:lnTo>
                    <a:pt x="540" y="2434"/>
                  </a:lnTo>
                  <a:lnTo>
                    <a:pt x="546" y="2458"/>
                  </a:lnTo>
                  <a:lnTo>
                    <a:pt x="548" y="2474"/>
                  </a:lnTo>
                  <a:lnTo>
                    <a:pt x="548" y="2478"/>
                  </a:lnTo>
                  <a:lnTo>
                    <a:pt x="548" y="2486"/>
                  </a:lnTo>
                  <a:lnTo>
                    <a:pt x="552" y="2492"/>
                  </a:lnTo>
                  <a:lnTo>
                    <a:pt x="562" y="2508"/>
                  </a:lnTo>
                  <a:lnTo>
                    <a:pt x="568" y="2512"/>
                  </a:lnTo>
                  <a:lnTo>
                    <a:pt x="574" y="2514"/>
                  </a:lnTo>
                  <a:lnTo>
                    <a:pt x="598" y="2508"/>
                  </a:lnTo>
                  <a:lnTo>
                    <a:pt x="614" y="2504"/>
                  </a:lnTo>
                  <a:lnTo>
                    <a:pt x="638" y="2498"/>
                  </a:lnTo>
                  <a:lnTo>
                    <a:pt x="654" y="2496"/>
                  </a:lnTo>
                  <a:lnTo>
                    <a:pt x="676" y="2496"/>
                  </a:lnTo>
                  <a:lnTo>
                    <a:pt x="684" y="2494"/>
                  </a:lnTo>
                  <a:lnTo>
                    <a:pt x="690" y="2490"/>
                  </a:lnTo>
                  <a:lnTo>
                    <a:pt x="748" y="2424"/>
                  </a:lnTo>
                  <a:lnTo>
                    <a:pt x="756" y="2410"/>
                  </a:lnTo>
                  <a:lnTo>
                    <a:pt x="770" y="2376"/>
                  </a:lnTo>
                  <a:lnTo>
                    <a:pt x="770" y="2370"/>
                  </a:lnTo>
                  <a:lnTo>
                    <a:pt x="770" y="2368"/>
                  </a:lnTo>
                  <a:lnTo>
                    <a:pt x="768" y="2368"/>
                  </a:lnTo>
                  <a:lnTo>
                    <a:pt x="770" y="2368"/>
                  </a:lnTo>
                  <a:lnTo>
                    <a:pt x="772" y="2366"/>
                  </a:lnTo>
                  <a:lnTo>
                    <a:pt x="772" y="2364"/>
                  </a:lnTo>
                  <a:lnTo>
                    <a:pt x="774" y="2358"/>
                  </a:lnTo>
                  <a:lnTo>
                    <a:pt x="778" y="2354"/>
                  </a:lnTo>
                  <a:lnTo>
                    <a:pt x="806" y="2334"/>
                  </a:lnTo>
                  <a:lnTo>
                    <a:pt x="810" y="2328"/>
                  </a:lnTo>
                  <a:lnTo>
                    <a:pt x="814" y="2322"/>
                  </a:lnTo>
                  <a:lnTo>
                    <a:pt x="818" y="2308"/>
                  </a:lnTo>
                  <a:lnTo>
                    <a:pt x="820" y="2300"/>
                  </a:lnTo>
                  <a:lnTo>
                    <a:pt x="820" y="2292"/>
                  </a:lnTo>
                  <a:lnTo>
                    <a:pt x="814" y="2268"/>
                  </a:lnTo>
                  <a:lnTo>
                    <a:pt x="814" y="2260"/>
                  </a:lnTo>
                  <a:lnTo>
                    <a:pt x="816" y="2254"/>
                  </a:lnTo>
                  <a:lnTo>
                    <a:pt x="826" y="2238"/>
                  </a:lnTo>
                  <a:lnTo>
                    <a:pt x="832" y="2232"/>
                  </a:lnTo>
                  <a:lnTo>
                    <a:pt x="838" y="2228"/>
                  </a:lnTo>
                  <a:lnTo>
                    <a:pt x="874" y="2206"/>
                  </a:lnTo>
                  <a:lnTo>
                    <a:pt x="880" y="2202"/>
                  </a:lnTo>
                  <a:lnTo>
                    <a:pt x="884" y="2194"/>
                  </a:lnTo>
                  <a:lnTo>
                    <a:pt x="886" y="2190"/>
                  </a:lnTo>
                  <a:lnTo>
                    <a:pt x="894" y="2176"/>
                  </a:lnTo>
                  <a:lnTo>
                    <a:pt x="896" y="2170"/>
                  </a:lnTo>
                  <a:lnTo>
                    <a:pt x="898" y="2162"/>
                  </a:lnTo>
                  <a:lnTo>
                    <a:pt x="898" y="2156"/>
                  </a:lnTo>
                  <a:lnTo>
                    <a:pt x="892" y="2132"/>
                  </a:lnTo>
                  <a:lnTo>
                    <a:pt x="890" y="2116"/>
                  </a:lnTo>
                  <a:lnTo>
                    <a:pt x="890" y="2112"/>
                  </a:lnTo>
                  <a:lnTo>
                    <a:pt x="890" y="2108"/>
                  </a:lnTo>
                  <a:lnTo>
                    <a:pt x="888" y="2106"/>
                  </a:lnTo>
                  <a:lnTo>
                    <a:pt x="886" y="2108"/>
                  </a:lnTo>
                  <a:lnTo>
                    <a:pt x="888" y="2106"/>
                  </a:lnTo>
                  <a:lnTo>
                    <a:pt x="888" y="2102"/>
                  </a:lnTo>
                  <a:lnTo>
                    <a:pt x="886" y="2098"/>
                  </a:lnTo>
                  <a:lnTo>
                    <a:pt x="882" y="2094"/>
                  </a:lnTo>
                  <a:lnTo>
                    <a:pt x="880" y="2086"/>
                  </a:lnTo>
                  <a:lnTo>
                    <a:pt x="880" y="2054"/>
                  </a:lnTo>
                  <a:lnTo>
                    <a:pt x="880" y="2046"/>
                  </a:lnTo>
                  <a:lnTo>
                    <a:pt x="876" y="2038"/>
                  </a:lnTo>
                  <a:lnTo>
                    <a:pt x="874" y="2032"/>
                  </a:lnTo>
                  <a:lnTo>
                    <a:pt x="872" y="2026"/>
                  </a:lnTo>
                  <a:lnTo>
                    <a:pt x="876" y="2020"/>
                  </a:lnTo>
                  <a:lnTo>
                    <a:pt x="880" y="2016"/>
                  </a:lnTo>
                  <a:lnTo>
                    <a:pt x="880" y="2012"/>
                  </a:lnTo>
                  <a:lnTo>
                    <a:pt x="882" y="2006"/>
                  </a:lnTo>
                  <a:lnTo>
                    <a:pt x="884" y="2000"/>
                  </a:lnTo>
                  <a:lnTo>
                    <a:pt x="894" y="1984"/>
                  </a:lnTo>
                  <a:lnTo>
                    <a:pt x="900" y="1978"/>
                  </a:lnTo>
                  <a:lnTo>
                    <a:pt x="906" y="1974"/>
                  </a:lnTo>
                  <a:lnTo>
                    <a:pt x="912" y="1970"/>
                  </a:lnTo>
                  <a:lnTo>
                    <a:pt x="918" y="1968"/>
                  </a:lnTo>
                  <a:lnTo>
                    <a:pt x="922" y="1960"/>
                  </a:lnTo>
                  <a:lnTo>
                    <a:pt x="934" y="1936"/>
                  </a:lnTo>
                  <a:lnTo>
                    <a:pt x="940" y="1930"/>
                  </a:lnTo>
                  <a:lnTo>
                    <a:pt x="946" y="1924"/>
                  </a:lnTo>
                  <a:lnTo>
                    <a:pt x="970" y="1912"/>
                  </a:lnTo>
                  <a:lnTo>
                    <a:pt x="984" y="1902"/>
                  </a:lnTo>
                  <a:lnTo>
                    <a:pt x="1012" y="1874"/>
                  </a:lnTo>
                  <a:lnTo>
                    <a:pt x="1016" y="1868"/>
                  </a:lnTo>
                  <a:lnTo>
                    <a:pt x="1020" y="1862"/>
                  </a:lnTo>
                  <a:lnTo>
                    <a:pt x="1044" y="1808"/>
                  </a:lnTo>
                  <a:lnTo>
                    <a:pt x="1048" y="1792"/>
                  </a:lnTo>
                  <a:lnTo>
                    <a:pt x="1054" y="1770"/>
                  </a:lnTo>
                  <a:lnTo>
                    <a:pt x="1054" y="1766"/>
                  </a:lnTo>
                  <a:lnTo>
                    <a:pt x="1054" y="1764"/>
                  </a:lnTo>
                  <a:lnTo>
                    <a:pt x="1050" y="1764"/>
                  </a:lnTo>
                  <a:lnTo>
                    <a:pt x="1048" y="1764"/>
                  </a:lnTo>
                  <a:lnTo>
                    <a:pt x="976" y="1780"/>
                  </a:lnTo>
                  <a:lnTo>
                    <a:pt x="968" y="1780"/>
                  </a:lnTo>
                  <a:lnTo>
                    <a:pt x="960" y="1778"/>
                  </a:lnTo>
                  <a:lnTo>
                    <a:pt x="956" y="1774"/>
                  </a:lnTo>
                  <a:lnTo>
                    <a:pt x="944" y="1766"/>
                  </a:lnTo>
                  <a:lnTo>
                    <a:pt x="934" y="1754"/>
                  </a:lnTo>
                  <a:lnTo>
                    <a:pt x="904" y="1710"/>
                  </a:lnTo>
                  <a:lnTo>
                    <a:pt x="898" y="1704"/>
                  </a:lnTo>
                  <a:lnTo>
                    <a:pt x="892" y="1700"/>
                  </a:lnTo>
                  <a:lnTo>
                    <a:pt x="886" y="1696"/>
                  </a:lnTo>
                  <a:lnTo>
                    <a:pt x="880" y="1692"/>
                  </a:lnTo>
                  <a:lnTo>
                    <a:pt x="876" y="1686"/>
                  </a:lnTo>
                  <a:lnTo>
                    <a:pt x="864" y="1670"/>
                  </a:lnTo>
                  <a:lnTo>
                    <a:pt x="860" y="1664"/>
                  </a:lnTo>
                  <a:lnTo>
                    <a:pt x="858" y="1656"/>
                  </a:lnTo>
                  <a:lnTo>
                    <a:pt x="852" y="1642"/>
                  </a:lnTo>
                  <a:lnTo>
                    <a:pt x="848" y="1626"/>
                  </a:lnTo>
                  <a:lnTo>
                    <a:pt x="842" y="1602"/>
                  </a:lnTo>
                  <a:lnTo>
                    <a:pt x="840" y="1596"/>
                  </a:lnTo>
                  <a:lnTo>
                    <a:pt x="834" y="1590"/>
                  </a:lnTo>
                  <a:lnTo>
                    <a:pt x="826" y="1582"/>
                  </a:lnTo>
                  <a:lnTo>
                    <a:pt x="822" y="1574"/>
                  </a:lnTo>
                  <a:lnTo>
                    <a:pt x="818" y="1568"/>
                  </a:lnTo>
                  <a:lnTo>
                    <a:pt x="814" y="1544"/>
                  </a:lnTo>
                  <a:lnTo>
                    <a:pt x="808" y="1530"/>
                  </a:lnTo>
                  <a:lnTo>
                    <a:pt x="796" y="1504"/>
                  </a:lnTo>
                  <a:lnTo>
                    <a:pt x="786" y="1492"/>
                  </a:lnTo>
                  <a:lnTo>
                    <a:pt x="768" y="1474"/>
                  </a:lnTo>
                  <a:lnTo>
                    <a:pt x="766" y="1470"/>
                  </a:lnTo>
                  <a:lnTo>
                    <a:pt x="770" y="1472"/>
                  </a:lnTo>
                  <a:lnTo>
                    <a:pt x="794" y="1484"/>
                  </a:lnTo>
                  <a:lnTo>
                    <a:pt x="798" y="1484"/>
                  </a:lnTo>
                  <a:lnTo>
                    <a:pt x="800" y="1484"/>
                  </a:lnTo>
                  <a:lnTo>
                    <a:pt x="804" y="1482"/>
                  </a:lnTo>
                  <a:lnTo>
                    <a:pt x="804" y="1480"/>
                  </a:lnTo>
                  <a:lnTo>
                    <a:pt x="808" y="1476"/>
                  </a:lnTo>
                  <a:lnTo>
                    <a:pt x="810" y="1474"/>
                  </a:lnTo>
                  <a:lnTo>
                    <a:pt x="810" y="1472"/>
                  </a:lnTo>
                  <a:lnTo>
                    <a:pt x="812" y="1474"/>
                  </a:lnTo>
                  <a:lnTo>
                    <a:pt x="814" y="1476"/>
                  </a:lnTo>
                  <a:lnTo>
                    <a:pt x="818" y="1480"/>
                  </a:lnTo>
                  <a:lnTo>
                    <a:pt x="824" y="1494"/>
                  </a:lnTo>
                  <a:lnTo>
                    <a:pt x="856" y="1550"/>
                  </a:lnTo>
                  <a:lnTo>
                    <a:pt x="866" y="1562"/>
                  </a:lnTo>
                  <a:lnTo>
                    <a:pt x="874" y="1570"/>
                  </a:lnTo>
                  <a:lnTo>
                    <a:pt x="878" y="1576"/>
                  </a:lnTo>
                  <a:lnTo>
                    <a:pt x="882" y="1584"/>
                  </a:lnTo>
                  <a:lnTo>
                    <a:pt x="886" y="1598"/>
                  </a:lnTo>
                  <a:lnTo>
                    <a:pt x="892" y="1614"/>
                  </a:lnTo>
                  <a:lnTo>
                    <a:pt x="898" y="1636"/>
                  </a:lnTo>
                  <a:lnTo>
                    <a:pt x="900" y="1644"/>
                  </a:lnTo>
                  <a:lnTo>
                    <a:pt x="904" y="1650"/>
                  </a:lnTo>
                  <a:lnTo>
                    <a:pt x="924" y="1668"/>
                  </a:lnTo>
                  <a:lnTo>
                    <a:pt x="928" y="1674"/>
                  </a:lnTo>
                  <a:lnTo>
                    <a:pt x="928" y="1678"/>
                  </a:lnTo>
                  <a:lnTo>
                    <a:pt x="928" y="1684"/>
                  </a:lnTo>
                  <a:lnTo>
                    <a:pt x="932" y="1690"/>
                  </a:lnTo>
                  <a:lnTo>
                    <a:pt x="936" y="1696"/>
                  </a:lnTo>
                  <a:lnTo>
                    <a:pt x="942" y="1710"/>
                  </a:lnTo>
                  <a:lnTo>
                    <a:pt x="954" y="1736"/>
                  </a:lnTo>
                  <a:lnTo>
                    <a:pt x="960" y="1740"/>
                  </a:lnTo>
                  <a:lnTo>
                    <a:pt x="966" y="1740"/>
                  </a:lnTo>
                  <a:lnTo>
                    <a:pt x="980" y="1736"/>
                  </a:lnTo>
                  <a:lnTo>
                    <a:pt x="996" y="1732"/>
                  </a:lnTo>
                  <a:lnTo>
                    <a:pt x="1000" y="1732"/>
                  </a:lnTo>
                  <a:lnTo>
                    <a:pt x="1006" y="1732"/>
                  </a:lnTo>
                  <a:lnTo>
                    <a:pt x="1012" y="1728"/>
                  </a:lnTo>
                  <a:lnTo>
                    <a:pt x="1020" y="1718"/>
                  </a:lnTo>
                  <a:lnTo>
                    <a:pt x="1028" y="1714"/>
                  </a:lnTo>
                  <a:lnTo>
                    <a:pt x="1034" y="1710"/>
                  </a:lnTo>
                  <a:lnTo>
                    <a:pt x="1048" y="1706"/>
                  </a:lnTo>
                  <a:lnTo>
                    <a:pt x="1064" y="1700"/>
                  </a:lnTo>
                  <a:lnTo>
                    <a:pt x="1088" y="1688"/>
                  </a:lnTo>
                  <a:lnTo>
                    <a:pt x="1096" y="1684"/>
                  </a:lnTo>
                  <a:lnTo>
                    <a:pt x="1102" y="1680"/>
                  </a:lnTo>
                  <a:lnTo>
                    <a:pt x="1128" y="1668"/>
                  </a:lnTo>
                  <a:lnTo>
                    <a:pt x="1134" y="1664"/>
                  </a:lnTo>
                  <a:lnTo>
                    <a:pt x="1140" y="1658"/>
                  </a:lnTo>
                  <a:lnTo>
                    <a:pt x="1158" y="1632"/>
                  </a:lnTo>
                  <a:lnTo>
                    <a:pt x="1168" y="1618"/>
                  </a:lnTo>
                  <a:lnTo>
                    <a:pt x="1170" y="1612"/>
                  </a:lnTo>
                  <a:lnTo>
                    <a:pt x="1180" y="1600"/>
                  </a:lnTo>
                  <a:lnTo>
                    <a:pt x="1188" y="1592"/>
                  </a:lnTo>
                  <a:lnTo>
                    <a:pt x="1188" y="1588"/>
                  </a:lnTo>
                  <a:lnTo>
                    <a:pt x="1190" y="1586"/>
                  </a:lnTo>
                  <a:lnTo>
                    <a:pt x="1188" y="1584"/>
                  </a:lnTo>
                  <a:lnTo>
                    <a:pt x="1186" y="1582"/>
                  </a:lnTo>
                  <a:lnTo>
                    <a:pt x="1160" y="1562"/>
                  </a:lnTo>
                  <a:lnTo>
                    <a:pt x="1154" y="1558"/>
                  </a:lnTo>
                  <a:lnTo>
                    <a:pt x="1148" y="1556"/>
                  </a:lnTo>
                  <a:lnTo>
                    <a:pt x="1144" y="1554"/>
                  </a:lnTo>
                  <a:lnTo>
                    <a:pt x="1140" y="1548"/>
                  </a:lnTo>
                  <a:lnTo>
                    <a:pt x="1138" y="1544"/>
                  </a:lnTo>
                  <a:lnTo>
                    <a:pt x="1132" y="1540"/>
                  </a:lnTo>
                  <a:lnTo>
                    <a:pt x="1126" y="1538"/>
                  </a:lnTo>
                  <a:lnTo>
                    <a:pt x="1102" y="1544"/>
                  </a:lnTo>
                  <a:lnTo>
                    <a:pt x="1096" y="1544"/>
                  </a:lnTo>
                  <a:lnTo>
                    <a:pt x="1088" y="1542"/>
                  </a:lnTo>
                  <a:lnTo>
                    <a:pt x="1082" y="1540"/>
                  </a:lnTo>
                  <a:lnTo>
                    <a:pt x="1076" y="1536"/>
                  </a:lnTo>
                  <a:lnTo>
                    <a:pt x="1070" y="1536"/>
                  </a:lnTo>
                  <a:lnTo>
                    <a:pt x="1058" y="1534"/>
                  </a:lnTo>
                  <a:lnTo>
                    <a:pt x="1054" y="1530"/>
                  </a:lnTo>
                  <a:lnTo>
                    <a:pt x="1048" y="1526"/>
                  </a:lnTo>
                  <a:lnTo>
                    <a:pt x="1044" y="1520"/>
                  </a:lnTo>
                  <a:lnTo>
                    <a:pt x="1040" y="1506"/>
                  </a:lnTo>
                  <a:lnTo>
                    <a:pt x="1036" y="1498"/>
                  </a:lnTo>
                  <a:lnTo>
                    <a:pt x="1032" y="1492"/>
                  </a:lnTo>
                  <a:lnTo>
                    <a:pt x="1022" y="1484"/>
                  </a:lnTo>
                  <a:lnTo>
                    <a:pt x="1018" y="1478"/>
                  </a:lnTo>
                  <a:lnTo>
                    <a:pt x="1018" y="1472"/>
                  </a:lnTo>
                  <a:lnTo>
                    <a:pt x="1018" y="1468"/>
                  </a:lnTo>
                  <a:lnTo>
                    <a:pt x="1022" y="1462"/>
                  </a:lnTo>
                  <a:lnTo>
                    <a:pt x="1026" y="1458"/>
                  </a:lnTo>
                  <a:lnTo>
                    <a:pt x="1026" y="1452"/>
                  </a:lnTo>
                  <a:lnTo>
                    <a:pt x="1028" y="1452"/>
                  </a:lnTo>
                  <a:lnTo>
                    <a:pt x="1032" y="1454"/>
                  </a:lnTo>
                  <a:lnTo>
                    <a:pt x="1040" y="1462"/>
                  </a:lnTo>
                  <a:lnTo>
                    <a:pt x="1052" y="1474"/>
                  </a:lnTo>
                  <a:lnTo>
                    <a:pt x="1060" y="1482"/>
                  </a:lnTo>
                  <a:lnTo>
                    <a:pt x="1072" y="1492"/>
                  </a:lnTo>
                  <a:lnTo>
                    <a:pt x="1088" y="1504"/>
                  </a:lnTo>
                  <a:lnTo>
                    <a:pt x="1102" y="1510"/>
                  </a:lnTo>
                  <a:lnTo>
                    <a:pt x="1116" y="1514"/>
                  </a:lnTo>
                  <a:lnTo>
                    <a:pt x="1124" y="1516"/>
                  </a:lnTo>
                  <a:lnTo>
                    <a:pt x="1132" y="1514"/>
                  </a:lnTo>
                  <a:lnTo>
                    <a:pt x="1136" y="1510"/>
                  </a:lnTo>
                  <a:lnTo>
                    <a:pt x="1144" y="1510"/>
                  </a:lnTo>
                  <a:lnTo>
                    <a:pt x="1150" y="1514"/>
                  </a:lnTo>
                  <a:lnTo>
                    <a:pt x="1158" y="1522"/>
                  </a:lnTo>
                  <a:lnTo>
                    <a:pt x="1164" y="1526"/>
                  </a:lnTo>
                  <a:lnTo>
                    <a:pt x="1172" y="1530"/>
                  </a:lnTo>
                  <a:lnTo>
                    <a:pt x="1206" y="1544"/>
                  </a:lnTo>
                  <a:lnTo>
                    <a:pt x="1218" y="1546"/>
                  </a:lnTo>
                  <a:lnTo>
                    <a:pt x="1222" y="1546"/>
                  </a:lnTo>
                  <a:lnTo>
                    <a:pt x="1230" y="1544"/>
                  </a:lnTo>
                  <a:lnTo>
                    <a:pt x="1244" y="1538"/>
                  </a:lnTo>
                  <a:lnTo>
                    <a:pt x="1260" y="1536"/>
                  </a:lnTo>
                  <a:lnTo>
                    <a:pt x="1292" y="1536"/>
                  </a:lnTo>
                  <a:lnTo>
                    <a:pt x="1300" y="1538"/>
                  </a:lnTo>
                  <a:lnTo>
                    <a:pt x="1306" y="1544"/>
                  </a:lnTo>
                  <a:lnTo>
                    <a:pt x="1316" y="1558"/>
                  </a:lnTo>
                  <a:lnTo>
                    <a:pt x="1320" y="1566"/>
                  </a:lnTo>
                  <a:lnTo>
                    <a:pt x="1326" y="1572"/>
                  </a:lnTo>
                  <a:lnTo>
                    <a:pt x="1336" y="1588"/>
                  </a:lnTo>
                  <a:lnTo>
                    <a:pt x="1346" y="1602"/>
                  </a:lnTo>
                  <a:lnTo>
                    <a:pt x="1354" y="1610"/>
                  </a:lnTo>
                  <a:lnTo>
                    <a:pt x="1360" y="1612"/>
                  </a:lnTo>
                  <a:lnTo>
                    <a:pt x="1366" y="1610"/>
                  </a:lnTo>
                  <a:lnTo>
                    <a:pt x="1382" y="1600"/>
                  </a:lnTo>
                  <a:lnTo>
                    <a:pt x="1386" y="1598"/>
                  </a:lnTo>
                  <a:lnTo>
                    <a:pt x="1388" y="1600"/>
                  </a:lnTo>
                  <a:lnTo>
                    <a:pt x="1390" y="1600"/>
                  </a:lnTo>
                  <a:lnTo>
                    <a:pt x="1390" y="1604"/>
                  </a:lnTo>
                  <a:lnTo>
                    <a:pt x="1398" y="1676"/>
                  </a:lnTo>
                  <a:lnTo>
                    <a:pt x="1402" y="1692"/>
                  </a:lnTo>
                  <a:lnTo>
                    <a:pt x="1408" y="1714"/>
                  </a:lnTo>
                  <a:lnTo>
                    <a:pt x="1414" y="1730"/>
                  </a:lnTo>
                  <a:lnTo>
                    <a:pt x="1434" y="1764"/>
                  </a:lnTo>
                  <a:lnTo>
                    <a:pt x="1442" y="1778"/>
                  </a:lnTo>
                  <a:lnTo>
                    <a:pt x="1444" y="1784"/>
                  </a:lnTo>
                  <a:lnTo>
                    <a:pt x="1452" y="1798"/>
                  </a:lnTo>
                  <a:lnTo>
                    <a:pt x="1464" y="1814"/>
                  </a:lnTo>
                  <a:lnTo>
                    <a:pt x="1466" y="1816"/>
                  </a:lnTo>
                  <a:lnTo>
                    <a:pt x="1468" y="1816"/>
                  </a:lnTo>
                  <a:lnTo>
                    <a:pt x="1470" y="1816"/>
                  </a:lnTo>
                  <a:lnTo>
                    <a:pt x="1472" y="1814"/>
                  </a:lnTo>
                  <a:lnTo>
                    <a:pt x="1474" y="1808"/>
                  </a:lnTo>
                  <a:lnTo>
                    <a:pt x="1484" y="1796"/>
                  </a:lnTo>
                  <a:lnTo>
                    <a:pt x="1492" y="1786"/>
                  </a:lnTo>
                  <a:lnTo>
                    <a:pt x="1500" y="1774"/>
                  </a:lnTo>
                  <a:lnTo>
                    <a:pt x="1504" y="1768"/>
                  </a:lnTo>
                  <a:lnTo>
                    <a:pt x="1506" y="1762"/>
                  </a:lnTo>
                  <a:lnTo>
                    <a:pt x="1506" y="1754"/>
                  </a:lnTo>
                  <a:lnTo>
                    <a:pt x="1506" y="1730"/>
                  </a:lnTo>
                  <a:lnTo>
                    <a:pt x="1510" y="1716"/>
                  </a:lnTo>
                  <a:lnTo>
                    <a:pt x="1514" y="1700"/>
                  </a:lnTo>
                  <a:lnTo>
                    <a:pt x="1518" y="1694"/>
                  </a:lnTo>
                  <a:lnTo>
                    <a:pt x="1522" y="1688"/>
                  </a:lnTo>
                  <a:lnTo>
                    <a:pt x="1540" y="1670"/>
                  </a:lnTo>
                  <a:lnTo>
                    <a:pt x="1554" y="1660"/>
                  </a:lnTo>
                  <a:lnTo>
                    <a:pt x="1578" y="1648"/>
                  </a:lnTo>
                  <a:lnTo>
                    <a:pt x="1590" y="1638"/>
                  </a:lnTo>
                  <a:lnTo>
                    <a:pt x="1598" y="1630"/>
                  </a:lnTo>
                  <a:lnTo>
                    <a:pt x="1604" y="1624"/>
                  </a:lnTo>
                  <a:lnTo>
                    <a:pt x="1608" y="1618"/>
                  </a:lnTo>
                  <a:lnTo>
                    <a:pt x="1612" y="1604"/>
                  </a:lnTo>
                  <a:lnTo>
                    <a:pt x="1616" y="1598"/>
                  </a:lnTo>
                  <a:lnTo>
                    <a:pt x="1622" y="1596"/>
                  </a:lnTo>
                  <a:lnTo>
                    <a:pt x="1636" y="1596"/>
                  </a:lnTo>
                  <a:lnTo>
                    <a:pt x="1644" y="1596"/>
                  </a:lnTo>
                  <a:lnTo>
                    <a:pt x="1652" y="1592"/>
                  </a:lnTo>
                  <a:lnTo>
                    <a:pt x="1666" y="1588"/>
                  </a:lnTo>
                  <a:lnTo>
                    <a:pt x="1676" y="1586"/>
                  </a:lnTo>
                  <a:lnTo>
                    <a:pt x="1686" y="1588"/>
                  </a:lnTo>
                  <a:lnTo>
                    <a:pt x="1688" y="1590"/>
                  </a:lnTo>
                  <a:lnTo>
                    <a:pt x="1694" y="1594"/>
                  </a:lnTo>
                  <a:lnTo>
                    <a:pt x="1700" y="1598"/>
                  </a:lnTo>
                  <a:lnTo>
                    <a:pt x="1702" y="1604"/>
                  </a:lnTo>
                  <a:lnTo>
                    <a:pt x="1706" y="1612"/>
                  </a:lnTo>
                  <a:lnTo>
                    <a:pt x="1708" y="1618"/>
                  </a:lnTo>
                  <a:lnTo>
                    <a:pt x="1714" y="1632"/>
                  </a:lnTo>
                  <a:lnTo>
                    <a:pt x="1728" y="1676"/>
                  </a:lnTo>
                  <a:lnTo>
                    <a:pt x="1732" y="1682"/>
                  </a:lnTo>
                  <a:lnTo>
                    <a:pt x="1738" y="1688"/>
                  </a:lnTo>
                  <a:lnTo>
                    <a:pt x="1744" y="1690"/>
                  </a:lnTo>
                  <a:lnTo>
                    <a:pt x="1750" y="1692"/>
                  </a:lnTo>
                  <a:lnTo>
                    <a:pt x="1758" y="1690"/>
                  </a:lnTo>
                  <a:lnTo>
                    <a:pt x="1764" y="1688"/>
                  </a:lnTo>
                  <a:lnTo>
                    <a:pt x="1770" y="1686"/>
                  </a:lnTo>
                  <a:lnTo>
                    <a:pt x="1776" y="1688"/>
                  </a:lnTo>
                  <a:lnTo>
                    <a:pt x="1780" y="1694"/>
                  </a:lnTo>
                  <a:lnTo>
                    <a:pt x="1782" y="1700"/>
                  </a:lnTo>
                  <a:lnTo>
                    <a:pt x="1788" y="1716"/>
                  </a:lnTo>
                  <a:lnTo>
                    <a:pt x="1790" y="1730"/>
                  </a:lnTo>
                  <a:lnTo>
                    <a:pt x="1790" y="1754"/>
                  </a:lnTo>
                  <a:lnTo>
                    <a:pt x="1790" y="1770"/>
                  </a:lnTo>
                  <a:lnTo>
                    <a:pt x="1790" y="1802"/>
                  </a:lnTo>
                  <a:lnTo>
                    <a:pt x="1792" y="1810"/>
                  </a:lnTo>
                  <a:lnTo>
                    <a:pt x="1796" y="1816"/>
                  </a:lnTo>
                  <a:lnTo>
                    <a:pt x="1804" y="1824"/>
                  </a:lnTo>
                  <a:lnTo>
                    <a:pt x="1814" y="1838"/>
                  </a:lnTo>
                  <a:lnTo>
                    <a:pt x="1816" y="1842"/>
                  </a:lnTo>
                  <a:lnTo>
                    <a:pt x="1822" y="1858"/>
                  </a:lnTo>
                  <a:lnTo>
                    <a:pt x="1826" y="1862"/>
                  </a:lnTo>
                  <a:lnTo>
                    <a:pt x="1834" y="1876"/>
                  </a:lnTo>
                  <a:lnTo>
                    <a:pt x="1842" y="1884"/>
                  </a:lnTo>
                  <a:lnTo>
                    <a:pt x="1854" y="1894"/>
                  </a:lnTo>
                  <a:lnTo>
                    <a:pt x="1872" y="1912"/>
                  </a:lnTo>
                  <a:lnTo>
                    <a:pt x="1878" y="1916"/>
                  </a:lnTo>
                  <a:lnTo>
                    <a:pt x="1880" y="1914"/>
                  </a:lnTo>
                  <a:lnTo>
                    <a:pt x="1884" y="1914"/>
                  </a:lnTo>
                  <a:lnTo>
                    <a:pt x="1886" y="1908"/>
                  </a:lnTo>
                  <a:lnTo>
                    <a:pt x="1886" y="1900"/>
                  </a:lnTo>
                  <a:lnTo>
                    <a:pt x="1880" y="1886"/>
                  </a:lnTo>
                  <a:lnTo>
                    <a:pt x="1874" y="1872"/>
                  </a:lnTo>
                  <a:lnTo>
                    <a:pt x="1872" y="1866"/>
                  </a:lnTo>
                  <a:lnTo>
                    <a:pt x="1862" y="1854"/>
                  </a:lnTo>
                  <a:lnTo>
                    <a:pt x="1854" y="1846"/>
                  </a:lnTo>
                  <a:lnTo>
                    <a:pt x="1842" y="1836"/>
                  </a:lnTo>
                  <a:lnTo>
                    <a:pt x="1836" y="1834"/>
                  </a:lnTo>
                  <a:lnTo>
                    <a:pt x="1824" y="1826"/>
                  </a:lnTo>
                  <a:lnTo>
                    <a:pt x="1820" y="1820"/>
                  </a:lnTo>
                  <a:lnTo>
                    <a:pt x="1818" y="1812"/>
                  </a:lnTo>
                  <a:lnTo>
                    <a:pt x="1812" y="1790"/>
                  </a:lnTo>
                  <a:lnTo>
                    <a:pt x="1810" y="1774"/>
                  </a:lnTo>
                  <a:lnTo>
                    <a:pt x="1810" y="1770"/>
                  </a:lnTo>
                  <a:lnTo>
                    <a:pt x="1812" y="1754"/>
                  </a:lnTo>
                  <a:lnTo>
                    <a:pt x="1816" y="1740"/>
                  </a:lnTo>
                  <a:lnTo>
                    <a:pt x="1818" y="1736"/>
                  </a:lnTo>
                  <a:lnTo>
                    <a:pt x="1820" y="1734"/>
                  </a:lnTo>
                  <a:lnTo>
                    <a:pt x="1824" y="1734"/>
                  </a:lnTo>
                  <a:lnTo>
                    <a:pt x="1826" y="1734"/>
                  </a:lnTo>
                  <a:lnTo>
                    <a:pt x="1842" y="1740"/>
                  </a:lnTo>
                  <a:lnTo>
                    <a:pt x="1848" y="1742"/>
                  </a:lnTo>
                  <a:lnTo>
                    <a:pt x="1854" y="1746"/>
                  </a:lnTo>
                  <a:lnTo>
                    <a:pt x="1858" y="1752"/>
                  </a:lnTo>
                  <a:lnTo>
                    <a:pt x="1864" y="1758"/>
                  </a:lnTo>
                  <a:lnTo>
                    <a:pt x="1872" y="1766"/>
                  </a:lnTo>
                  <a:lnTo>
                    <a:pt x="1884" y="1776"/>
                  </a:lnTo>
                  <a:lnTo>
                    <a:pt x="1888" y="1782"/>
                  </a:lnTo>
                  <a:lnTo>
                    <a:pt x="1894" y="1780"/>
                  </a:lnTo>
                  <a:lnTo>
                    <a:pt x="1898" y="1782"/>
                  </a:lnTo>
                  <a:lnTo>
                    <a:pt x="1902" y="1788"/>
                  </a:lnTo>
                  <a:lnTo>
                    <a:pt x="1904" y="1794"/>
                  </a:lnTo>
                  <a:lnTo>
                    <a:pt x="1906" y="1796"/>
                  </a:lnTo>
                  <a:lnTo>
                    <a:pt x="1908" y="1798"/>
                  </a:lnTo>
                  <a:lnTo>
                    <a:pt x="1912" y="1798"/>
                  </a:lnTo>
                  <a:lnTo>
                    <a:pt x="1914" y="1796"/>
                  </a:lnTo>
                  <a:lnTo>
                    <a:pt x="1940" y="1776"/>
                  </a:lnTo>
                  <a:lnTo>
                    <a:pt x="1952" y="1766"/>
                  </a:lnTo>
                  <a:lnTo>
                    <a:pt x="1962" y="1758"/>
                  </a:lnTo>
                  <a:lnTo>
                    <a:pt x="1964" y="1752"/>
                  </a:lnTo>
                  <a:lnTo>
                    <a:pt x="1964" y="1744"/>
                  </a:lnTo>
                  <a:lnTo>
                    <a:pt x="1950" y="1690"/>
                  </a:lnTo>
                  <a:lnTo>
                    <a:pt x="1946" y="1684"/>
                  </a:lnTo>
                  <a:lnTo>
                    <a:pt x="1942" y="1678"/>
                  </a:lnTo>
                  <a:lnTo>
                    <a:pt x="1932" y="1666"/>
                  </a:lnTo>
                  <a:lnTo>
                    <a:pt x="1922" y="1650"/>
                  </a:lnTo>
                  <a:lnTo>
                    <a:pt x="1914" y="1636"/>
                  </a:lnTo>
                  <a:lnTo>
                    <a:pt x="1912" y="1632"/>
                  </a:lnTo>
                  <a:lnTo>
                    <a:pt x="1910" y="1626"/>
                  </a:lnTo>
                  <a:lnTo>
                    <a:pt x="1912" y="1620"/>
                  </a:lnTo>
                  <a:lnTo>
                    <a:pt x="1924" y="1612"/>
                  </a:lnTo>
                  <a:lnTo>
                    <a:pt x="1930" y="1608"/>
                  </a:lnTo>
                  <a:lnTo>
                    <a:pt x="1942" y="1606"/>
                  </a:lnTo>
                  <a:lnTo>
                    <a:pt x="1948" y="1606"/>
                  </a:lnTo>
                  <a:lnTo>
                    <a:pt x="1954" y="1610"/>
                  </a:lnTo>
                  <a:lnTo>
                    <a:pt x="1970" y="1620"/>
                  </a:lnTo>
                  <a:lnTo>
                    <a:pt x="1972" y="1622"/>
                  </a:lnTo>
                  <a:lnTo>
                    <a:pt x="1974" y="1620"/>
                  </a:lnTo>
                  <a:lnTo>
                    <a:pt x="1976" y="1620"/>
                  </a:lnTo>
                  <a:lnTo>
                    <a:pt x="1976" y="1616"/>
                  </a:lnTo>
                  <a:lnTo>
                    <a:pt x="1976" y="1614"/>
                  </a:lnTo>
                  <a:lnTo>
                    <a:pt x="1978" y="1606"/>
                  </a:lnTo>
                  <a:lnTo>
                    <a:pt x="1984" y="1604"/>
                  </a:lnTo>
                  <a:lnTo>
                    <a:pt x="2008" y="1598"/>
                  </a:lnTo>
                  <a:lnTo>
                    <a:pt x="2014" y="1594"/>
                  </a:lnTo>
                  <a:lnTo>
                    <a:pt x="2020" y="1590"/>
                  </a:lnTo>
                  <a:lnTo>
                    <a:pt x="2024" y="1586"/>
                  </a:lnTo>
                  <a:lnTo>
                    <a:pt x="2030" y="1586"/>
                  </a:lnTo>
                  <a:lnTo>
                    <a:pt x="2040" y="1586"/>
                  </a:lnTo>
                  <a:lnTo>
                    <a:pt x="2052" y="1582"/>
                  </a:lnTo>
                  <a:lnTo>
                    <a:pt x="2056" y="1580"/>
                  </a:lnTo>
                  <a:lnTo>
                    <a:pt x="2072" y="1572"/>
                  </a:lnTo>
                  <a:lnTo>
                    <a:pt x="2076" y="1570"/>
                  </a:lnTo>
                  <a:lnTo>
                    <a:pt x="2090" y="1562"/>
                  </a:lnTo>
                  <a:lnTo>
                    <a:pt x="2106" y="1550"/>
                  </a:lnTo>
                  <a:lnTo>
                    <a:pt x="2112" y="1546"/>
                  </a:lnTo>
                  <a:lnTo>
                    <a:pt x="2116" y="1540"/>
                  </a:lnTo>
                  <a:lnTo>
                    <a:pt x="2120" y="1534"/>
                  </a:lnTo>
                  <a:lnTo>
                    <a:pt x="2126" y="1520"/>
                  </a:lnTo>
                  <a:lnTo>
                    <a:pt x="2130" y="1514"/>
                  </a:lnTo>
                  <a:lnTo>
                    <a:pt x="2138" y="1500"/>
                  </a:lnTo>
                  <a:lnTo>
                    <a:pt x="2148" y="1484"/>
                  </a:lnTo>
                  <a:lnTo>
                    <a:pt x="2150" y="1478"/>
                  </a:lnTo>
                  <a:lnTo>
                    <a:pt x="2152" y="1470"/>
                  </a:lnTo>
                  <a:lnTo>
                    <a:pt x="2152" y="1466"/>
                  </a:lnTo>
                  <a:lnTo>
                    <a:pt x="2150" y="1460"/>
                  </a:lnTo>
                  <a:lnTo>
                    <a:pt x="2148" y="1454"/>
                  </a:lnTo>
                  <a:lnTo>
                    <a:pt x="2146" y="1448"/>
                  </a:lnTo>
                  <a:lnTo>
                    <a:pt x="2148" y="1444"/>
                  </a:lnTo>
                  <a:lnTo>
                    <a:pt x="2150" y="1438"/>
                  </a:lnTo>
                  <a:lnTo>
                    <a:pt x="2148" y="1432"/>
                  </a:lnTo>
                  <a:lnTo>
                    <a:pt x="2146" y="1426"/>
                  </a:lnTo>
                  <a:lnTo>
                    <a:pt x="2140" y="1412"/>
                  </a:lnTo>
                  <a:lnTo>
                    <a:pt x="2126" y="1378"/>
                  </a:lnTo>
                  <a:lnTo>
                    <a:pt x="2122" y="1366"/>
                  </a:lnTo>
                  <a:lnTo>
                    <a:pt x="2124" y="1360"/>
                  </a:lnTo>
                  <a:lnTo>
                    <a:pt x="2128" y="1354"/>
                  </a:lnTo>
                  <a:lnTo>
                    <a:pt x="2136" y="1346"/>
                  </a:lnTo>
                  <a:lnTo>
                    <a:pt x="2150" y="1338"/>
                  </a:lnTo>
                  <a:lnTo>
                    <a:pt x="2154" y="1334"/>
                  </a:lnTo>
                  <a:lnTo>
                    <a:pt x="2160" y="1330"/>
                  </a:lnTo>
                  <a:lnTo>
                    <a:pt x="2162" y="1326"/>
                  </a:lnTo>
                  <a:lnTo>
                    <a:pt x="2160" y="1322"/>
                  </a:lnTo>
                  <a:lnTo>
                    <a:pt x="2154" y="1322"/>
                  </a:lnTo>
                  <a:lnTo>
                    <a:pt x="2140" y="1322"/>
                  </a:lnTo>
                  <a:lnTo>
                    <a:pt x="2128" y="1322"/>
                  </a:lnTo>
                  <a:lnTo>
                    <a:pt x="2118" y="1322"/>
                  </a:lnTo>
                  <a:lnTo>
                    <a:pt x="2114" y="1320"/>
                  </a:lnTo>
                  <a:lnTo>
                    <a:pt x="2110" y="1314"/>
                  </a:lnTo>
                  <a:lnTo>
                    <a:pt x="2106" y="1308"/>
                  </a:lnTo>
                  <a:lnTo>
                    <a:pt x="2098" y="1296"/>
                  </a:lnTo>
                  <a:lnTo>
                    <a:pt x="2096" y="1294"/>
                  </a:lnTo>
                  <a:lnTo>
                    <a:pt x="2096" y="1292"/>
                  </a:lnTo>
                  <a:lnTo>
                    <a:pt x="2100" y="1288"/>
                  </a:lnTo>
                  <a:lnTo>
                    <a:pt x="2106" y="1286"/>
                  </a:lnTo>
                  <a:lnTo>
                    <a:pt x="2120" y="1278"/>
                  </a:lnTo>
                  <a:lnTo>
                    <a:pt x="2126" y="1276"/>
                  </a:lnTo>
                  <a:lnTo>
                    <a:pt x="2138" y="1266"/>
                  </a:lnTo>
                  <a:lnTo>
                    <a:pt x="2146" y="1258"/>
                  </a:lnTo>
                  <a:lnTo>
                    <a:pt x="2152" y="1254"/>
                  </a:lnTo>
                  <a:lnTo>
                    <a:pt x="2158" y="1252"/>
                  </a:lnTo>
                  <a:lnTo>
                    <a:pt x="2158" y="1254"/>
                  </a:lnTo>
                  <a:lnTo>
                    <a:pt x="2160" y="1254"/>
                  </a:lnTo>
                  <a:lnTo>
                    <a:pt x="2158" y="1260"/>
                  </a:lnTo>
                  <a:lnTo>
                    <a:pt x="2156" y="1266"/>
                  </a:lnTo>
                  <a:lnTo>
                    <a:pt x="2154" y="1272"/>
                  </a:lnTo>
                  <a:lnTo>
                    <a:pt x="2158" y="1278"/>
                  </a:lnTo>
                  <a:lnTo>
                    <a:pt x="2162" y="1280"/>
                  </a:lnTo>
                  <a:lnTo>
                    <a:pt x="2166" y="1282"/>
                  </a:lnTo>
                  <a:lnTo>
                    <a:pt x="2180" y="1280"/>
                  </a:lnTo>
                  <a:lnTo>
                    <a:pt x="2194" y="1274"/>
                  </a:lnTo>
                  <a:lnTo>
                    <a:pt x="2202" y="1274"/>
                  </a:lnTo>
                  <a:lnTo>
                    <a:pt x="2208" y="1276"/>
                  </a:lnTo>
                  <a:lnTo>
                    <a:pt x="2214" y="1278"/>
                  </a:lnTo>
                  <a:lnTo>
                    <a:pt x="2220" y="1284"/>
                  </a:lnTo>
                  <a:lnTo>
                    <a:pt x="2224" y="1290"/>
                  </a:lnTo>
                  <a:lnTo>
                    <a:pt x="2228" y="1294"/>
                  </a:lnTo>
                  <a:lnTo>
                    <a:pt x="2230" y="1306"/>
                  </a:lnTo>
                  <a:lnTo>
                    <a:pt x="2230" y="1320"/>
                  </a:lnTo>
                  <a:lnTo>
                    <a:pt x="2230" y="1332"/>
                  </a:lnTo>
                  <a:lnTo>
                    <a:pt x="2228" y="1348"/>
                  </a:lnTo>
                  <a:lnTo>
                    <a:pt x="2224" y="1362"/>
                  </a:lnTo>
                  <a:lnTo>
                    <a:pt x="2222" y="1366"/>
                  </a:lnTo>
                  <a:lnTo>
                    <a:pt x="2224" y="1368"/>
                  </a:lnTo>
                  <a:lnTo>
                    <a:pt x="2226" y="1370"/>
                  </a:lnTo>
                  <a:lnTo>
                    <a:pt x="2228" y="1370"/>
                  </a:lnTo>
                  <a:lnTo>
                    <a:pt x="2232" y="1370"/>
                  </a:lnTo>
                  <a:lnTo>
                    <a:pt x="2240" y="1370"/>
                  </a:lnTo>
                  <a:lnTo>
                    <a:pt x="2248" y="1366"/>
                  </a:lnTo>
                  <a:lnTo>
                    <a:pt x="2252" y="1364"/>
                  </a:lnTo>
                  <a:lnTo>
                    <a:pt x="2264" y="1356"/>
                  </a:lnTo>
                  <a:lnTo>
                    <a:pt x="2274" y="1346"/>
                  </a:lnTo>
                  <a:lnTo>
                    <a:pt x="2278" y="1340"/>
                  </a:lnTo>
                  <a:lnTo>
                    <a:pt x="2276" y="1334"/>
                  </a:lnTo>
                  <a:lnTo>
                    <a:pt x="2264" y="1308"/>
                  </a:lnTo>
                  <a:lnTo>
                    <a:pt x="2260" y="1296"/>
                  </a:lnTo>
                  <a:lnTo>
                    <a:pt x="2260" y="1284"/>
                  </a:lnTo>
                  <a:lnTo>
                    <a:pt x="2260" y="1280"/>
                  </a:lnTo>
                  <a:lnTo>
                    <a:pt x="2260" y="1268"/>
                  </a:lnTo>
                  <a:lnTo>
                    <a:pt x="2256" y="1256"/>
                  </a:lnTo>
                  <a:lnTo>
                    <a:pt x="2254" y="1250"/>
                  </a:lnTo>
                  <a:lnTo>
                    <a:pt x="2252" y="1244"/>
                  </a:lnTo>
                  <a:lnTo>
                    <a:pt x="2256" y="1238"/>
                  </a:lnTo>
                  <a:lnTo>
                    <a:pt x="2266" y="1228"/>
                  </a:lnTo>
                  <a:lnTo>
                    <a:pt x="2274" y="1220"/>
                  </a:lnTo>
                  <a:lnTo>
                    <a:pt x="2280" y="1216"/>
                  </a:lnTo>
                  <a:lnTo>
                    <a:pt x="2286" y="1214"/>
                  </a:lnTo>
                  <a:lnTo>
                    <a:pt x="2290" y="1216"/>
                  </a:lnTo>
                  <a:lnTo>
                    <a:pt x="2292" y="1218"/>
                  </a:lnTo>
                  <a:lnTo>
                    <a:pt x="2292" y="1222"/>
                  </a:lnTo>
                  <a:lnTo>
                    <a:pt x="2294" y="1224"/>
                  </a:lnTo>
                  <a:lnTo>
                    <a:pt x="2304" y="1224"/>
                  </a:lnTo>
                  <a:lnTo>
                    <a:pt x="2310" y="1222"/>
                  </a:lnTo>
                  <a:lnTo>
                    <a:pt x="2314" y="1218"/>
                  </a:lnTo>
                  <a:lnTo>
                    <a:pt x="2320" y="1216"/>
                  </a:lnTo>
                  <a:lnTo>
                    <a:pt x="2326" y="1218"/>
                  </a:lnTo>
                  <a:lnTo>
                    <a:pt x="2332" y="1220"/>
                  </a:lnTo>
                  <a:lnTo>
                    <a:pt x="2338" y="1222"/>
                  </a:lnTo>
                  <a:lnTo>
                    <a:pt x="2344" y="1218"/>
                  </a:lnTo>
                  <a:lnTo>
                    <a:pt x="2362" y="1200"/>
                  </a:lnTo>
                  <a:lnTo>
                    <a:pt x="2374" y="1188"/>
                  </a:lnTo>
                  <a:lnTo>
                    <a:pt x="2382" y="1180"/>
                  </a:lnTo>
                  <a:lnTo>
                    <a:pt x="2392" y="1168"/>
                  </a:lnTo>
                  <a:lnTo>
                    <a:pt x="2422" y="1132"/>
                  </a:lnTo>
                  <a:lnTo>
                    <a:pt x="2430" y="1118"/>
                  </a:lnTo>
                  <a:lnTo>
                    <a:pt x="2442" y="1094"/>
                  </a:lnTo>
                  <a:lnTo>
                    <a:pt x="2446" y="1086"/>
                  </a:lnTo>
                  <a:lnTo>
                    <a:pt x="2446" y="1078"/>
                  </a:lnTo>
                  <a:lnTo>
                    <a:pt x="2446" y="1056"/>
                  </a:lnTo>
                  <a:lnTo>
                    <a:pt x="2448" y="1040"/>
                  </a:lnTo>
                  <a:lnTo>
                    <a:pt x="2454" y="996"/>
                  </a:lnTo>
                  <a:lnTo>
                    <a:pt x="2456" y="980"/>
                  </a:lnTo>
                  <a:lnTo>
                    <a:pt x="2456" y="978"/>
                  </a:lnTo>
                  <a:lnTo>
                    <a:pt x="2454" y="970"/>
                  </a:lnTo>
                  <a:lnTo>
                    <a:pt x="2450" y="964"/>
                  </a:lnTo>
                  <a:lnTo>
                    <a:pt x="2442" y="956"/>
                  </a:lnTo>
                  <a:lnTo>
                    <a:pt x="2436" y="952"/>
                  </a:lnTo>
                  <a:lnTo>
                    <a:pt x="2430" y="954"/>
                  </a:lnTo>
                  <a:lnTo>
                    <a:pt x="2414" y="964"/>
                  </a:lnTo>
                  <a:lnTo>
                    <a:pt x="2406" y="968"/>
                  </a:lnTo>
                  <a:lnTo>
                    <a:pt x="2400" y="966"/>
                  </a:lnTo>
                  <a:lnTo>
                    <a:pt x="2394" y="964"/>
                  </a:lnTo>
                  <a:lnTo>
                    <a:pt x="2388" y="958"/>
                  </a:lnTo>
                  <a:lnTo>
                    <a:pt x="2384" y="952"/>
                  </a:lnTo>
                  <a:lnTo>
                    <a:pt x="2382" y="948"/>
                  </a:lnTo>
                  <a:lnTo>
                    <a:pt x="2378" y="942"/>
                  </a:lnTo>
                  <a:lnTo>
                    <a:pt x="2372" y="940"/>
                  </a:lnTo>
                  <a:lnTo>
                    <a:pt x="2370" y="938"/>
                  </a:lnTo>
                  <a:lnTo>
                    <a:pt x="2372" y="936"/>
                  </a:lnTo>
                  <a:lnTo>
                    <a:pt x="2384" y="924"/>
                  </a:lnTo>
                  <a:lnTo>
                    <a:pt x="2402" y="906"/>
                  </a:lnTo>
                  <a:lnTo>
                    <a:pt x="2412" y="896"/>
                  </a:lnTo>
                  <a:lnTo>
                    <a:pt x="2420" y="888"/>
                  </a:lnTo>
                  <a:lnTo>
                    <a:pt x="2424" y="882"/>
                  </a:lnTo>
                  <a:lnTo>
                    <a:pt x="2426" y="876"/>
                  </a:lnTo>
                  <a:lnTo>
                    <a:pt x="2428" y="872"/>
                  </a:lnTo>
                  <a:lnTo>
                    <a:pt x="2432" y="866"/>
                  </a:lnTo>
                  <a:lnTo>
                    <a:pt x="2490" y="808"/>
                  </a:lnTo>
                  <a:lnTo>
                    <a:pt x="2496" y="804"/>
                  </a:lnTo>
                  <a:lnTo>
                    <a:pt x="2504" y="802"/>
                  </a:lnTo>
                  <a:lnTo>
                    <a:pt x="2506" y="802"/>
                  </a:lnTo>
                  <a:lnTo>
                    <a:pt x="2522" y="802"/>
                  </a:lnTo>
                  <a:lnTo>
                    <a:pt x="2556" y="802"/>
                  </a:lnTo>
                  <a:lnTo>
                    <a:pt x="2564" y="802"/>
                  </a:lnTo>
                  <a:lnTo>
                    <a:pt x="2570" y="800"/>
                  </a:lnTo>
                  <a:lnTo>
                    <a:pt x="2576" y="796"/>
                  </a:lnTo>
                  <a:lnTo>
                    <a:pt x="2584" y="794"/>
                  </a:lnTo>
                  <a:lnTo>
                    <a:pt x="2590" y="796"/>
                  </a:lnTo>
                  <a:lnTo>
                    <a:pt x="2604" y="800"/>
                  </a:lnTo>
                  <a:lnTo>
                    <a:pt x="2610" y="804"/>
                  </a:lnTo>
                  <a:lnTo>
                    <a:pt x="2612" y="810"/>
                  </a:lnTo>
                  <a:lnTo>
                    <a:pt x="2612" y="814"/>
                  </a:lnTo>
                  <a:lnTo>
                    <a:pt x="2614" y="818"/>
                  </a:lnTo>
                  <a:lnTo>
                    <a:pt x="2614" y="820"/>
                  </a:lnTo>
                  <a:lnTo>
                    <a:pt x="2618" y="820"/>
                  </a:lnTo>
                  <a:lnTo>
                    <a:pt x="2620" y="822"/>
                  </a:lnTo>
                  <a:lnTo>
                    <a:pt x="2654" y="814"/>
                  </a:lnTo>
                  <a:lnTo>
                    <a:pt x="2666" y="812"/>
                  </a:lnTo>
                  <a:lnTo>
                    <a:pt x="2668" y="812"/>
                  </a:lnTo>
                  <a:lnTo>
                    <a:pt x="2666" y="808"/>
                  </a:lnTo>
                  <a:lnTo>
                    <a:pt x="2664" y="802"/>
                  </a:lnTo>
                  <a:lnTo>
                    <a:pt x="2664" y="796"/>
                  </a:lnTo>
                  <a:lnTo>
                    <a:pt x="2668" y="782"/>
                  </a:lnTo>
                  <a:lnTo>
                    <a:pt x="2674" y="766"/>
                  </a:lnTo>
                  <a:lnTo>
                    <a:pt x="2678" y="752"/>
                  </a:lnTo>
                  <a:lnTo>
                    <a:pt x="2682" y="746"/>
                  </a:lnTo>
                  <a:lnTo>
                    <a:pt x="2688" y="740"/>
                  </a:lnTo>
                  <a:lnTo>
                    <a:pt x="2704" y="730"/>
                  </a:lnTo>
                  <a:lnTo>
                    <a:pt x="2710" y="726"/>
                  </a:lnTo>
                  <a:lnTo>
                    <a:pt x="2718" y="726"/>
                  </a:lnTo>
                  <a:lnTo>
                    <a:pt x="2742" y="732"/>
                  </a:lnTo>
                  <a:lnTo>
                    <a:pt x="2748" y="736"/>
                  </a:lnTo>
                  <a:lnTo>
                    <a:pt x="2754" y="742"/>
                  </a:lnTo>
                  <a:lnTo>
                    <a:pt x="2756" y="746"/>
                  </a:lnTo>
                  <a:lnTo>
                    <a:pt x="2758" y="750"/>
                  </a:lnTo>
                  <a:lnTo>
                    <a:pt x="2760" y="750"/>
                  </a:lnTo>
                  <a:lnTo>
                    <a:pt x="2762" y="750"/>
                  </a:lnTo>
                  <a:lnTo>
                    <a:pt x="2764" y="748"/>
                  </a:lnTo>
                  <a:lnTo>
                    <a:pt x="2774" y="740"/>
                  </a:lnTo>
                  <a:lnTo>
                    <a:pt x="2786" y="730"/>
                  </a:lnTo>
                  <a:lnTo>
                    <a:pt x="2812" y="710"/>
                  </a:lnTo>
                  <a:lnTo>
                    <a:pt x="2814" y="708"/>
                  </a:lnTo>
                  <a:lnTo>
                    <a:pt x="2816" y="708"/>
                  </a:lnTo>
                  <a:lnTo>
                    <a:pt x="2818" y="710"/>
                  </a:lnTo>
                  <a:lnTo>
                    <a:pt x="2818" y="714"/>
                  </a:lnTo>
                  <a:lnTo>
                    <a:pt x="2818" y="736"/>
                  </a:lnTo>
                  <a:lnTo>
                    <a:pt x="2816" y="744"/>
                  </a:lnTo>
                  <a:lnTo>
                    <a:pt x="2812" y="750"/>
                  </a:lnTo>
                  <a:lnTo>
                    <a:pt x="2794" y="768"/>
                  </a:lnTo>
                  <a:lnTo>
                    <a:pt x="2782" y="778"/>
                  </a:lnTo>
                  <a:lnTo>
                    <a:pt x="2776" y="780"/>
                  </a:lnTo>
                  <a:lnTo>
                    <a:pt x="2770" y="784"/>
                  </a:lnTo>
                  <a:lnTo>
                    <a:pt x="2764" y="790"/>
                  </a:lnTo>
                  <a:lnTo>
                    <a:pt x="2754" y="806"/>
                  </a:lnTo>
                  <a:lnTo>
                    <a:pt x="2744" y="818"/>
                  </a:lnTo>
                  <a:lnTo>
                    <a:pt x="2736" y="826"/>
                  </a:lnTo>
                  <a:lnTo>
                    <a:pt x="2724" y="838"/>
                  </a:lnTo>
                  <a:lnTo>
                    <a:pt x="2716" y="846"/>
                  </a:lnTo>
                  <a:lnTo>
                    <a:pt x="2710" y="850"/>
                  </a:lnTo>
                  <a:lnTo>
                    <a:pt x="2706" y="852"/>
                  </a:lnTo>
                  <a:lnTo>
                    <a:pt x="2702" y="854"/>
                  </a:lnTo>
                  <a:lnTo>
                    <a:pt x="2698" y="860"/>
                  </a:lnTo>
                  <a:lnTo>
                    <a:pt x="2684" y="904"/>
                  </a:lnTo>
                  <a:lnTo>
                    <a:pt x="2682" y="910"/>
                  </a:lnTo>
                  <a:lnTo>
                    <a:pt x="2682" y="918"/>
                  </a:lnTo>
                  <a:lnTo>
                    <a:pt x="2700" y="1020"/>
                  </a:lnTo>
                  <a:lnTo>
                    <a:pt x="2700" y="1022"/>
                  </a:lnTo>
                  <a:lnTo>
                    <a:pt x="2702" y="1024"/>
                  </a:lnTo>
                  <a:lnTo>
                    <a:pt x="2704" y="1024"/>
                  </a:lnTo>
                  <a:lnTo>
                    <a:pt x="2706" y="1022"/>
                  </a:lnTo>
                  <a:lnTo>
                    <a:pt x="2726" y="996"/>
                  </a:lnTo>
                  <a:lnTo>
                    <a:pt x="2734" y="984"/>
                  </a:lnTo>
                  <a:lnTo>
                    <a:pt x="2744" y="972"/>
                  </a:lnTo>
                  <a:lnTo>
                    <a:pt x="2746" y="966"/>
                  </a:lnTo>
                  <a:lnTo>
                    <a:pt x="2754" y="952"/>
                  </a:lnTo>
                  <a:lnTo>
                    <a:pt x="2756" y="948"/>
                  </a:lnTo>
                  <a:lnTo>
                    <a:pt x="2760" y="940"/>
                  </a:lnTo>
                  <a:lnTo>
                    <a:pt x="2766" y="936"/>
                  </a:lnTo>
                  <a:lnTo>
                    <a:pt x="2772" y="934"/>
                  </a:lnTo>
                  <a:lnTo>
                    <a:pt x="2776" y="928"/>
                  </a:lnTo>
                  <a:lnTo>
                    <a:pt x="2778" y="922"/>
                  </a:lnTo>
                  <a:lnTo>
                    <a:pt x="2778" y="918"/>
                  </a:lnTo>
                  <a:lnTo>
                    <a:pt x="2780" y="912"/>
                  </a:lnTo>
                  <a:lnTo>
                    <a:pt x="2784" y="906"/>
                  </a:lnTo>
                  <a:lnTo>
                    <a:pt x="2788" y="900"/>
                  </a:lnTo>
                  <a:lnTo>
                    <a:pt x="2790" y="894"/>
                  </a:lnTo>
                  <a:lnTo>
                    <a:pt x="2796" y="870"/>
                  </a:lnTo>
                  <a:lnTo>
                    <a:pt x="2798" y="856"/>
                  </a:lnTo>
                  <a:lnTo>
                    <a:pt x="2796" y="854"/>
                  </a:lnTo>
                  <a:lnTo>
                    <a:pt x="2790" y="852"/>
                  </a:lnTo>
                  <a:lnTo>
                    <a:pt x="2786" y="852"/>
                  </a:lnTo>
                  <a:lnTo>
                    <a:pt x="2784" y="852"/>
                  </a:lnTo>
                  <a:lnTo>
                    <a:pt x="2782" y="850"/>
                  </a:lnTo>
                  <a:lnTo>
                    <a:pt x="2782" y="848"/>
                  </a:lnTo>
                  <a:lnTo>
                    <a:pt x="2782" y="844"/>
                  </a:lnTo>
                  <a:lnTo>
                    <a:pt x="2796" y="810"/>
                  </a:lnTo>
                  <a:lnTo>
                    <a:pt x="2798" y="804"/>
                  </a:lnTo>
                  <a:lnTo>
                    <a:pt x="2804" y="798"/>
                  </a:lnTo>
                  <a:lnTo>
                    <a:pt x="2816" y="790"/>
                  </a:lnTo>
                  <a:lnTo>
                    <a:pt x="2820" y="786"/>
                  </a:lnTo>
                  <a:lnTo>
                    <a:pt x="2832" y="784"/>
                  </a:lnTo>
                  <a:lnTo>
                    <a:pt x="2838" y="784"/>
                  </a:lnTo>
                  <a:lnTo>
                    <a:pt x="2842" y="788"/>
                  </a:lnTo>
                  <a:lnTo>
                    <a:pt x="2844" y="790"/>
                  </a:lnTo>
                  <a:lnTo>
                    <a:pt x="2848" y="790"/>
                  </a:lnTo>
                  <a:lnTo>
                    <a:pt x="2854" y="788"/>
                  </a:lnTo>
                  <a:lnTo>
                    <a:pt x="2870" y="770"/>
                  </a:lnTo>
                  <a:lnTo>
                    <a:pt x="2874" y="768"/>
                  </a:lnTo>
                  <a:lnTo>
                    <a:pt x="2876" y="768"/>
                  </a:lnTo>
                  <a:lnTo>
                    <a:pt x="2880" y="768"/>
                  </a:lnTo>
                  <a:lnTo>
                    <a:pt x="2882" y="770"/>
                  </a:lnTo>
                  <a:lnTo>
                    <a:pt x="2900" y="788"/>
                  </a:lnTo>
                  <a:lnTo>
                    <a:pt x="2902" y="790"/>
                  </a:lnTo>
                  <a:lnTo>
                    <a:pt x="2906" y="790"/>
                  </a:lnTo>
                  <a:lnTo>
                    <a:pt x="2908" y="788"/>
                  </a:lnTo>
                  <a:lnTo>
                    <a:pt x="2908" y="786"/>
                  </a:lnTo>
                  <a:lnTo>
                    <a:pt x="2914" y="772"/>
                  </a:lnTo>
                  <a:lnTo>
                    <a:pt x="2918" y="766"/>
                  </a:lnTo>
                  <a:lnTo>
                    <a:pt x="2924" y="764"/>
                  </a:lnTo>
                  <a:lnTo>
                    <a:pt x="2928" y="764"/>
                  </a:lnTo>
                  <a:lnTo>
                    <a:pt x="2934" y="762"/>
                  </a:lnTo>
                  <a:lnTo>
                    <a:pt x="2940" y="758"/>
                  </a:lnTo>
                  <a:lnTo>
                    <a:pt x="2960" y="732"/>
                  </a:lnTo>
                  <a:lnTo>
                    <a:pt x="2966" y="726"/>
                  </a:lnTo>
                  <a:lnTo>
                    <a:pt x="2972" y="722"/>
                  </a:lnTo>
                  <a:lnTo>
                    <a:pt x="2996" y="708"/>
                  </a:lnTo>
                  <a:lnTo>
                    <a:pt x="3004" y="706"/>
                  </a:lnTo>
                  <a:lnTo>
                    <a:pt x="3012" y="706"/>
                  </a:lnTo>
                  <a:lnTo>
                    <a:pt x="3016" y="706"/>
                  </a:lnTo>
                  <a:lnTo>
                    <a:pt x="3024" y="706"/>
                  </a:lnTo>
                  <a:lnTo>
                    <a:pt x="3030" y="708"/>
                  </a:lnTo>
                  <a:lnTo>
                    <a:pt x="3036" y="712"/>
                  </a:lnTo>
                  <a:lnTo>
                    <a:pt x="3042" y="712"/>
                  </a:lnTo>
                  <a:lnTo>
                    <a:pt x="3044" y="710"/>
                  </a:lnTo>
                  <a:lnTo>
                    <a:pt x="3044" y="698"/>
                  </a:lnTo>
                  <a:lnTo>
                    <a:pt x="3044" y="694"/>
                  </a:lnTo>
                  <a:lnTo>
                    <a:pt x="3040" y="678"/>
                  </a:lnTo>
                  <a:lnTo>
                    <a:pt x="3036" y="664"/>
                  </a:lnTo>
                  <a:lnTo>
                    <a:pt x="3032" y="656"/>
                  </a:lnTo>
                  <a:lnTo>
                    <a:pt x="3028" y="650"/>
                  </a:lnTo>
                  <a:lnTo>
                    <a:pt x="3020" y="642"/>
                  </a:lnTo>
                  <a:lnTo>
                    <a:pt x="3018" y="640"/>
                  </a:lnTo>
                  <a:lnTo>
                    <a:pt x="3018" y="638"/>
                  </a:lnTo>
                  <a:lnTo>
                    <a:pt x="3018" y="634"/>
                  </a:lnTo>
                  <a:lnTo>
                    <a:pt x="3022" y="634"/>
                  </a:lnTo>
                  <a:lnTo>
                    <a:pt x="3026" y="630"/>
                  </a:lnTo>
                  <a:lnTo>
                    <a:pt x="3040" y="624"/>
                  </a:lnTo>
                  <a:lnTo>
                    <a:pt x="3046" y="620"/>
                  </a:lnTo>
                  <a:close/>
                  <a:moveTo>
                    <a:pt x="420" y="930"/>
                  </a:moveTo>
                  <a:lnTo>
                    <a:pt x="420" y="930"/>
                  </a:lnTo>
                  <a:lnTo>
                    <a:pt x="414" y="924"/>
                  </a:lnTo>
                  <a:lnTo>
                    <a:pt x="410" y="920"/>
                  </a:lnTo>
                  <a:lnTo>
                    <a:pt x="414" y="924"/>
                  </a:lnTo>
                  <a:lnTo>
                    <a:pt x="420" y="930"/>
                  </a:lnTo>
                  <a:close/>
                  <a:moveTo>
                    <a:pt x="938" y="1244"/>
                  </a:moveTo>
                  <a:lnTo>
                    <a:pt x="938" y="1244"/>
                  </a:lnTo>
                  <a:lnTo>
                    <a:pt x="934" y="1238"/>
                  </a:lnTo>
                  <a:lnTo>
                    <a:pt x="928" y="1236"/>
                  </a:lnTo>
                  <a:lnTo>
                    <a:pt x="924" y="1234"/>
                  </a:lnTo>
                  <a:lnTo>
                    <a:pt x="914" y="1234"/>
                  </a:lnTo>
                  <a:lnTo>
                    <a:pt x="902" y="1238"/>
                  </a:lnTo>
                  <a:lnTo>
                    <a:pt x="896" y="1240"/>
                  </a:lnTo>
                  <a:lnTo>
                    <a:pt x="890" y="1242"/>
                  </a:lnTo>
                  <a:lnTo>
                    <a:pt x="882" y="1244"/>
                  </a:lnTo>
                  <a:lnTo>
                    <a:pt x="878" y="1244"/>
                  </a:lnTo>
                  <a:lnTo>
                    <a:pt x="864" y="1244"/>
                  </a:lnTo>
                  <a:lnTo>
                    <a:pt x="852" y="1240"/>
                  </a:lnTo>
                  <a:lnTo>
                    <a:pt x="848" y="1238"/>
                  </a:lnTo>
                  <a:lnTo>
                    <a:pt x="836" y="1234"/>
                  </a:lnTo>
                  <a:lnTo>
                    <a:pt x="822" y="1234"/>
                  </a:lnTo>
                  <a:lnTo>
                    <a:pt x="800" y="1234"/>
                  </a:lnTo>
                  <a:lnTo>
                    <a:pt x="786" y="1234"/>
                  </a:lnTo>
                  <a:lnTo>
                    <a:pt x="774" y="1234"/>
                  </a:lnTo>
                  <a:lnTo>
                    <a:pt x="770" y="1234"/>
                  </a:lnTo>
                  <a:lnTo>
                    <a:pt x="764" y="1236"/>
                  </a:lnTo>
                  <a:lnTo>
                    <a:pt x="758" y="1238"/>
                  </a:lnTo>
                  <a:lnTo>
                    <a:pt x="746" y="1248"/>
                  </a:lnTo>
                  <a:lnTo>
                    <a:pt x="740" y="1250"/>
                  </a:lnTo>
                  <a:lnTo>
                    <a:pt x="734" y="1250"/>
                  </a:lnTo>
                  <a:lnTo>
                    <a:pt x="728" y="1248"/>
                  </a:lnTo>
                  <a:lnTo>
                    <a:pt x="722" y="1244"/>
                  </a:lnTo>
                  <a:lnTo>
                    <a:pt x="716" y="1240"/>
                  </a:lnTo>
                  <a:lnTo>
                    <a:pt x="702" y="1236"/>
                  </a:lnTo>
                  <a:lnTo>
                    <a:pt x="696" y="1232"/>
                  </a:lnTo>
                  <a:lnTo>
                    <a:pt x="694" y="1226"/>
                  </a:lnTo>
                  <a:lnTo>
                    <a:pt x="694" y="1222"/>
                  </a:lnTo>
                  <a:lnTo>
                    <a:pt x="696" y="1214"/>
                  </a:lnTo>
                  <a:lnTo>
                    <a:pt x="700" y="1208"/>
                  </a:lnTo>
                  <a:lnTo>
                    <a:pt x="708" y="1200"/>
                  </a:lnTo>
                  <a:lnTo>
                    <a:pt x="714" y="1194"/>
                  </a:lnTo>
                  <a:lnTo>
                    <a:pt x="714" y="1186"/>
                  </a:lnTo>
                  <a:lnTo>
                    <a:pt x="714" y="1172"/>
                  </a:lnTo>
                  <a:lnTo>
                    <a:pt x="714" y="1166"/>
                  </a:lnTo>
                  <a:lnTo>
                    <a:pt x="718" y="1160"/>
                  </a:lnTo>
                  <a:lnTo>
                    <a:pt x="724" y="1156"/>
                  </a:lnTo>
                  <a:lnTo>
                    <a:pt x="728" y="1150"/>
                  </a:lnTo>
                  <a:lnTo>
                    <a:pt x="740" y="1142"/>
                  </a:lnTo>
                  <a:lnTo>
                    <a:pt x="746" y="1140"/>
                  </a:lnTo>
                  <a:lnTo>
                    <a:pt x="754" y="1136"/>
                  </a:lnTo>
                  <a:lnTo>
                    <a:pt x="760" y="1136"/>
                  </a:lnTo>
                  <a:lnTo>
                    <a:pt x="764" y="1136"/>
                  </a:lnTo>
                  <a:lnTo>
                    <a:pt x="772" y="1138"/>
                  </a:lnTo>
                  <a:lnTo>
                    <a:pt x="778" y="1140"/>
                  </a:lnTo>
                  <a:lnTo>
                    <a:pt x="780" y="1146"/>
                  </a:lnTo>
                  <a:lnTo>
                    <a:pt x="778" y="1150"/>
                  </a:lnTo>
                  <a:lnTo>
                    <a:pt x="776" y="1152"/>
                  </a:lnTo>
                  <a:lnTo>
                    <a:pt x="776" y="1156"/>
                  </a:lnTo>
                  <a:lnTo>
                    <a:pt x="778" y="1160"/>
                  </a:lnTo>
                  <a:lnTo>
                    <a:pt x="786" y="1170"/>
                  </a:lnTo>
                  <a:lnTo>
                    <a:pt x="792" y="1172"/>
                  </a:lnTo>
                  <a:lnTo>
                    <a:pt x="800" y="1172"/>
                  </a:lnTo>
                  <a:lnTo>
                    <a:pt x="824" y="1158"/>
                  </a:lnTo>
                  <a:lnTo>
                    <a:pt x="832" y="1156"/>
                  </a:lnTo>
                  <a:lnTo>
                    <a:pt x="838" y="1158"/>
                  </a:lnTo>
                  <a:lnTo>
                    <a:pt x="862" y="1164"/>
                  </a:lnTo>
                  <a:lnTo>
                    <a:pt x="870" y="1166"/>
                  </a:lnTo>
                  <a:lnTo>
                    <a:pt x="874" y="1172"/>
                  </a:lnTo>
                  <a:lnTo>
                    <a:pt x="886" y="1188"/>
                  </a:lnTo>
                  <a:lnTo>
                    <a:pt x="888" y="1194"/>
                  </a:lnTo>
                  <a:lnTo>
                    <a:pt x="890" y="1200"/>
                  </a:lnTo>
                  <a:lnTo>
                    <a:pt x="892" y="1204"/>
                  </a:lnTo>
                  <a:lnTo>
                    <a:pt x="894" y="1210"/>
                  </a:lnTo>
                  <a:lnTo>
                    <a:pt x="900" y="1212"/>
                  </a:lnTo>
                  <a:lnTo>
                    <a:pt x="908" y="1214"/>
                  </a:lnTo>
                  <a:lnTo>
                    <a:pt x="912" y="1214"/>
                  </a:lnTo>
                  <a:lnTo>
                    <a:pt x="918" y="1216"/>
                  </a:lnTo>
                  <a:lnTo>
                    <a:pt x="924" y="1218"/>
                  </a:lnTo>
                  <a:lnTo>
                    <a:pt x="932" y="1232"/>
                  </a:lnTo>
                  <a:lnTo>
                    <a:pt x="936" y="1236"/>
                  </a:lnTo>
                  <a:lnTo>
                    <a:pt x="938" y="1244"/>
                  </a:lnTo>
                  <a:close/>
                  <a:moveTo>
                    <a:pt x="1094" y="1156"/>
                  </a:moveTo>
                  <a:lnTo>
                    <a:pt x="1094" y="1156"/>
                  </a:lnTo>
                  <a:lnTo>
                    <a:pt x="1078" y="1156"/>
                  </a:lnTo>
                  <a:lnTo>
                    <a:pt x="1074" y="1156"/>
                  </a:lnTo>
                  <a:lnTo>
                    <a:pt x="1068" y="1156"/>
                  </a:lnTo>
                  <a:lnTo>
                    <a:pt x="1062" y="1160"/>
                  </a:lnTo>
                  <a:lnTo>
                    <a:pt x="1058" y="1166"/>
                  </a:lnTo>
                  <a:lnTo>
                    <a:pt x="1058" y="1172"/>
                  </a:lnTo>
                  <a:lnTo>
                    <a:pt x="1064" y="1196"/>
                  </a:lnTo>
                  <a:lnTo>
                    <a:pt x="1068" y="1204"/>
                  </a:lnTo>
                  <a:lnTo>
                    <a:pt x="1072" y="1210"/>
                  </a:lnTo>
                  <a:lnTo>
                    <a:pt x="1080" y="1218"/>
                  </a:lnTo>
                  <a:lnTo>
                    <a:pt x="1084" y="1224"/>
                  </a:lnTo>
                  <a:lnTo>
                    <a:pt x="1086" y="1232"/>
                  </a:lnTo>
                  <a:lnTo>
                    <a:pt x="1086" y="1256"/>
                  </a:lnTo>
                  <a:lnTo>
                    <a:pt x="1086" y="1264"/>
                  </a:lnTo>
                  <a:lnTo>
                    <a:pt x="1080" y="1266"/>
                  </a:lnTo>
                  <a:lnTo>
                    <a:pt x="1020" y="1278"/>
                  </a:lnTo>
                  <a:lnTo>
                    <a:pt x="1014" y="1278"/>
                  </a:lnTo>
                  <a:lnTo>
                    <a:pt x="1010" y="1276"/>
                  </a:lnTo>
                  <a:lnTo>
                    <a:pt x="1006" y="1274"/>
                  </a:lnTo>
                  <a:lnTo>
                    <a:pt x="1002" y="1278"/>
                  </a:lnTo>
                  <a:lnTo>
                    <a:pt x="998" y="1280"/>
                  </a:lnTo>
                  <a:lnTo>
                    <a:pt x="990" y="1282"/>
                  </a:lnTo>
                  <a:lnTo>
                    <a:pt x="982" y="1284"/>
                  </a:lnTo>
                  <a:lnTo>
                    <a:pt x="976" y="1284"/>
                  </a:lnTo>
                  <a:lnTo>
                    <a:pt x="972" y="1284"/>
                  </a:lnTo>
                  <a:lnTo>
                    <a:pt x="962" y="1278"/>
                  </a:lnTo>
                  <a:lnTo>
                    <a:pt x="958" y="1272"/>
                  </a:lnTo>
                  <a:lnTo>
                    <a:pt x="954" y="1268"/>
                  </a:lnTo>
                  <a:lnTo>
                    <a:pt x="954" y="1266"/>
                  </a:lnTo>
                  <a:lnTo>
                    <a:pt x="954" y="1264"/>
                  </a:lnTo>
                  <a:lnTo>
                    <a:pt x="960" y="1264"/>
                  </a:lnTo>
                  <a:lnTo>
                    <a:pt x="968" y="1262"/>
                  </a:lnTo>
                  <a:lnTo>
                    <a:pt x="976" y="1260"/>
                  </a:lnTo>
                  <a:lnTo>
                    <a:pt x="980" y="1256"/>
                  </a:lnTo>
                  <a:lnTo>
                    <a:pt x="986" y="1256"/>
                  </a:lnTo>
                  <a:lnTo>
                    <a:pt x="992" y="1258"/>
                  </a:lnTo>
                  <a:lnTo>
                    <a:pt x="996" y="1264"/>
                  </a:lnTo>
                  <a:lnTo>
                    <a:pt x="998" y="1268"/>
                  </a:lnTo>
                  <a:lnTo>
                    <a:pt x="998" y="1270"/>
                  </a:lnTo>
                  <a:lnTo>
                    <a:pt x="1002" y="1266"/>
                  </a:lnTo>
                  <a:lnTo>
                    <a:pt x="1004" y="1260"/>
                  </a:lnTo>
                  <a:lnTo>
                    <a:pt x="1012" y="1248"/>
                  </a:lnTo>
                  <a:lnTo>
                    <a:pt x="1022" y="1240"/>
                  </a:lnTo>
                  <a:lnTo>
                    <a:pt x="1024" y="1234"/>
                  </a:lnTo>
                  <a:lnTo>
                    <a:pt x="1024" y="1226"/>
                  </a:lnTo>
                  <a:lnTo>
                    <a:pt x="1010" y="1202"/>
                  </a:lnTo>
                  <a:lnTo>
                    <a:pt x="1002" y="1188"/>
                  </a:lnTo>
                  <a:lnTo>
                    <a:pt x="974" y="1152"/>
                  </a:lnTo>
                  <a:lnTo>
                    <a:pt x="970" y="1146"/>
                  </a:lnTo>
                  <a:lnTo>
                    <a:pt x="972" y="1138"/>
                  </a:lnTo>
                  <a:lnTo>
                    <a:pt x="984" y="1122"/>
                  </a:lnTo>
                  <a:lnTo>
                    <a:pt x="988" y="1118"/>
                  </a:lnTo>
                  <a:lnTo>
                    <a:pt x="994" y="1112"/>
                  </a:lnTo>
                  <a:lnTo>
                    <a:pt x="1000" y="1110"/>
                  </a:lnTo>
                  <a:lnTo>
                    <a:pt x="1006" y="1108"/>
                  </a:lnTo>
                  <a:lnTo>
                    <a:pt x="1012" y="1112"/>
                  </a:lnTo>
                  <a:lnTo>
                    <a:pt x="1018" y="1114"/>
                  </a:lnTo>
                  <a:lnTo>
                    <a:pt x="1026" y="1116"/>
                  </a:lnTo>
                  <a:lnTo>
                    <a:pt x="1048" y="1116"/>
                  </a:lnTo>
                  <a:lnTo>
                    <a:pt x="1064" y="1116"/>
                  </a:lnTo>
                  <a:lnTo>
                    <a:pt x="1078" y="1116"/>
                  </a:lnTo>
                  <a:lnTo>
                    <a:pt x="1084" y="1118"/>
                  </a:lnTo>
                  <a:lnTo>
                    <a:pt x="1090" y="1122"/>
                  </a:lnTo>
                  <a:lnTo>
                    <a:pt x="1110" y="1148"/>
                  </a:lnTo>
                  <a:lnTo>
                    <a:pt x="1112" y="1152"/>
                  </a:lnTo>
                  <a:lnTo>
                    <a:pt x="1112" y="1154"/>
                  </a:lnTo>
                  <a:lnTo>
                    <a:pt x="1110" y="1154"/>
                  </a:lnTo>
                  <a:lnTo>
                    <a:pt x="1108" y="1156"/>
                  </a:lnTo>
                  <a:lnTo>
                    <a:pt x="1094" y="1156"/>
                  </a:lnTo>
                  <a:close/>
                  <a:moveTo>
                    <a:pt x="1098" y="350"/>
                  </a:moveTo>
                  <a:lnTo>
                    <a:pt x="1098" y="350"/>
                  </a:lnTo>
                  <a:lnTo>
                    <a:pt x="1102" y="354"/>
                  </a:lnTo>
                  <a:lnTo>
                    <a:pt x="1106" y="358"/>
                  </a:lnTo>
                  <a:lnTo>
                    <a:pt x="1108" y="362"/>
                  </a:lnTo>
                  <a:lnTo>
                    <a:pt x="1112" y="366"/>
                  </a:lnTo>
                  <a:lnTo>
                    <a:pt x="1118" y="368"/>
                  </a:lnTo>
                  <a:lnTo>
                    <a:pt x="1124" y="372"/>
                  </a:lnTo>
                  <a:lnTo>
                    <a:pt x="1132" y="372"/>
                  </a:lnTo>
                  <a:lnTo>
                    <a:pt x="1156" y="372"/>
                  </a:lnTo>
                  <a:lnTo>
                    <a:pt x="1158" y="372"/>
                  </a:lnTo>
                  <a:lnTo>
                    <a:pt x="1160" y="370"/>
                  </a:lnTo>
                  <a:lnTo>
                    <a:pt x="1160" y="368"/>
                  </a:lnTo>
                  <a:lnTo>
                    <a:pt x="1158" y="366"/>
                  </a:lnTo>
                  <a:lnTo>
                    <a:pt x="1150" y="358"/>
                  </a:lnTo>
                  <a:lnTo>
                    <a:pt x="1146" y="352"/>
                  </a:lnTo>
                  <a:lnTo>
                    <a:pt x="1142" y="346"/>
                  </a:lnTo>
                  <a:lnTo>
                    <a:pt x="1128" y="302"/>
                  </a:lnTo>
                  <a:lnTo>
                    <a:pt x="1126" y="294"/>
                  </a:lnTo>
                  <a:lnTo>
                    <a:pt x="1128" y="286"/>
                  </a:lnTo>
                  <a:lnTo>
                    <a:pt x="1140" y="262"/>
                  </a:lnTo>
                  <a:lnTo>
                    <a:pt x="1148" y="248"/>
                  </a:lnTo>
                  <a:lnTo>
                    <a:pt x="1180" y="184"/>
                  </a:lnTo>
                  <a:lnTo>
                    <a:pt x="1184" y="178"/>
                  </a:lnTo>
                  <a:lnTo>
                    <a:pt x="1190" y="172"/>
                  </a:lnTo>
                  <a:lnTo>
                    <a:pt x="1216" y="152"/>
                  </a:lnTo>
                  <a:lnTo>
                    <a:pt x="1226" y="140"/>
                  </a:lnTo>
                  <a:lnTo>
                    <a:pt x="1238" y="124"/>
                  </a:lnTo>
                  <a:lnTo>
                    <a:pt x="1244" y="120"/>
                  </a:lnTo>
                  <a:lnTo>
                    <a:pt x="1250" y="116"/>
                  </a:lnTo>
                  <a:lnTo>
                    <a:pt x="1264" y="110"/>
                  </a:lnTo>
                  <a:lnTo>
                    <a:pt x="1278" y="104"/>
                  </a:lnTo>
                  <a:lnTo>
                    <a:pt x="1294" y="94"/>
                  </a:lnTo>
                  <a:lnTo>
                    <a:pt x="1306" y="84"/>
                  </a:lnTo>
                  <a:lnTo>
                    <a:pt x="1334" y="56"/>
                  </a:lnTo>
                  <a:lnTo>
                    <a:pt x="1338" y="50"/>
                  </a:lnTo>
                  <a:lnTo>
                    <a:pt x="1336" y="42"/>
                  </a:lnTo>
                  <a:lnTo>
                    <a:pt x="1334" y="38"/>
                  </a:lnTo>
                  <a:lnTo>
                    <a:pt x="1328" y="32"/>
                  </a:lnTo>
                  <a:lnTo>
                    <a:pt x="1322" y="30"/>
                  </a:lnTo>
                  <a:lnTo>
                    <a:pt x="1308" y="30"/>
                  </a:lnTo>
                  <a:lnTo>
                    <a:pt x="1302" y="32"/>
                  </a:lnTo>
                  <a:lnTo>
                    <a:pt x="1296" y="36"/>
                  </a:lnTo>
                  <a:lnTo>
                    <a:pt x="1286" y="44"/>
                  </a:lnTo>
                  <a:lnTo>
                    <a:pt x="1276" y="54"/>
                  </a:lnTo>
                  <a:lnTo>
                    <a:pt x="1270" y="58"/>
                  </a:lnTo>
                  <a:lnTo>
                    <a:pt x="1264" y="62"/>
                  </a:lnTo>
                  <a:lnTo>
                    <a:pt x="1250" y="66"/>
                  </a:lnTo>
                  <a:lnTo>
                    <a:pt x="1234" y="70"/>
                  </a:lnTo>
                  <a:lnTo>
                    <a:pt x="1220" y="70"/>
                  </a:lnTo>
                  <a:lnTo>
                    <a:pt x="1214" y="70"/>
                  </a:lnTo>
                  <a:lnTo>
                    <a:pt x="1208" y="74"/>
                  </a:lnTo>
                  <a:lnTo>
                    <a:pt x="1198" y="84"/>
                  </a:lnTo>
                  <a:lnTo>
                    <a:pt x="1188" y="94"/>
                  </a:lnTo>
                  <a:lnTo>
                    <a:pt x="1160" y="122"/>
                  </a:lnTo>
                  <a:lnTo>
                    <a:pt x="1146" y="132"/>
                  </a:lnTo>
                  <a:lnTo>
                    <a:pt x="1142" y="134"/>
                  </a:lnTo>
                  <a:lnTo>
                    <a:pt x="1136" y="140"/>
                  </a:lnTo>
                  <a:lnTo>
                    <a:pt x="1134" y="146"/>
                  </a:lnTo>
                  <a:lnTo>
                    <a:pt x="1134" y="160"/>
                  </a:lnTo>
                  <a:lnTo>
                    <a:pt x="1132" y="166"/>
                  </a:lnTo>
                  <a:lnTo>
                    <a:pt x="1128" y="170"/>
                  </a:lnTo>
                  <a:lnTo>
                    <a:pt x="1122" y="174"/>
                  </a:lnTo>
                  <a:lnTo>
                    <a:pt x="1116" y="178"/>
                  </a:lnTo>
                  <a:lnTo>
                    <a:pt x="1110" y="184"/>
                  </a:lnTo>
                  <a:lnTo>
                    <a:pt x="1100" y="200"/>
                  </a:lnTo>
                  <a:lnTo>
                    <a:pt x="1096" y="206"/>
                  </a:lnTo>
                  <a:lnTo>
                    <a:pt x="1096" y="214"/>
                  </a:lnTo>
                  <a:lnTo>
                    <a:pt x="1096" y="218"/>
                  </a:lnTo>
                  <a:lnTo>
                    <a:pt x="1094" y="226"/>
                  </a:lnTo>
                  <a:lnTo>
                    <a:pt x="1092" y="232"/>
                  </a:lnTo>
                  <a:lnTo>
                    <a:pt x="1090" y="238"/>
                  </a:lnTo>
                  <a:lnTo>
                    <a:pt x="1082" y="252"/>
                  </a:lnTo>
                  <a:lnTo>
                    <a:pt x="1080" y="258"/>
                  </a:lnTo>
                  <a:lnTo>
                    <a:pt x="1076" y="266"/>
                  </a:lnTo>
                  <a:lnTo>
                    <a:pt x="1076" y="272"/>
                  </a:lnTo>
                  <a:lnTo>
                    <a:pt x="1076" y="286"/>
                  </a:lnTo>
                  <a:lnTo>
                    <a:pt x="1074" y="294"/>
                  </a:lnTo>
                  <a:lnTo>
                    <a:pt x="1072" y="302"/>
                  </a:lnTo>
                  <a:lnTo>
                    <a:pt x="1070" y="306"/>
                  </a:lnTo>
                  <a:lnTo>
                    <a:pt x="1068" y="314"/>
                  </a:lnTo>
                  <a:lnTo>
                    <a:pt x="1068" y="322"/>
                  </a:lnTo>
                  <a:lnTo>
                    <a:pt x="1074" y="336"/>
                  </a:lnTo>
                  <a:lnTo>
                    <a:pt x="1078" y="342"/>
                  </a:lnTo>
                  <a:lnTo>
                    <a:pt x="1084" y="346"/>
                  </a:lnTo>
                  <a:lnTo>
                    <a:pt x="1098" y="350"/>
                  </a:lnTo>
                  <a:close/>
                  <a:moveTo>
                    <a:pt x="148" y="1002"/>
                  </a:moveTo>
                  <a:lnTo>
                    <a:pt x="148" y="1002"/>
                  </a:lnTo>
                  <a:lnTo>
                    <a:pt x="162" y="994"/>
                  </a:lnTo>
                  <a:lnTo>
                    <a:pt x="168" y="992"/>
                  </a:lnTo>
                  <a:lnTo>
                    <a:pt x="172" y="988"/>
                  </a:lnTo>
                  <a:lnTo>
                    <a:pt x="174" y="980"/>
                  </a:lnTo>
                  <a:lnTo>
                    <a:pt x="174" y="978"/>
                  </a:lnTo>
                  <a:lnTo>
                    <a:pt x="174" y="962"/>
                  </a:lnTo>
                  <a:lnTo>
                    <a:pt x="174" y="958"/>
                  </a:lnTo>
                  <a:lnTo>
                    <a:pt x="176" y="950"/>
                  </a:lnTo>
                  <a:lnTo>
                    <a:pt x="180" y="944"/>
                  </a:lnTo>
                  <a:lnTo>
                    <a:pt x="182" y="940"/>
                  </a:lnTo>
                  <a:lnTo>
                    <a:pt x="180" y="936"/>
                  </a:lnTo>
                  <a:lnTo>
                    <a:pt x="176" y="930"/>
                  </a:lnTo>
                  <a:lnTo>
                    <a:pt x="174" y="926"/>
                  </a:lnTo>
                  <a:lnTo>
                    <a:pt x="172" y="922"/>
                  </a:lnTo>
                  <a:lnTo>
                    <a:pt x="170" y="920"/>
                  </a:lnTo>
                  <a:lnTo>
                    <a:pt x="164" y="920"/>
                  </a:lnTo>
                  <a:lnTo>
                    <a:pt x="160" y="916"/>
                  </a:lnTo>
                  <a:lnTo>
                    <a:pt x="158" y="914"/>
                  </a:lnTo>
                  <a:lnTo>
                    <a:pt x="154" y="914"/>
                  </a:lnTo>
                  <a:lnTo>
                    <a:pt x="148" y="916"/>
                  </a:lnTo>
                  <a:lnTo>
                    <a:pt x="140" y="924"/>
                  </a:lnTo>
                  <a:lnTo>
                    <a:pt x="136" y="930"/>
                  </a:lnTo>
                  <a:lnTo>
                    <a:pt x="134" y="936"/>
                  </a:lnTo>
                  <a:lnTo>
                    <a:pt x="132" y="938"/>
                  </a:lnTo>
                  <a:lnTo>
                    <a:pt x="126" y="940"/>
                  </a:lnTo>
                  <a:lnTo>
                    <a:pt x="124" y="940"/>
                  </a:lnTo>
                  <a:lnTo>
                    <a:pt x="120" y="940"/>
                  </a:lnTo>
                  <a:lnTo>
                    <a:pt x="118" y="942"/>
                  </a:lnTo>
                  <a:lnTo>
                    <a:pt x="118" y="944"/>
                  </a:lnTo>
                  <a:lnTo>
                    <a:pt x="118" y="948"/>
                  </a:lnTo>
                  <a:lnTo>
                    <a:pt x="122" y="952"/>
                  </a:lnTo>
                  <a:lnTo>
                    <a:pt x="122" y="958"/>
                  </a:lnTo>
                  <a:lnTo>
                    <a:pt x="120" y="960"/>
                  </a:lnTo>
                  <a:lnTo>
                    <a:pt x="118" y="960"/>
                  </a:lnTo>
                  <a:lnTo>
                    <a:pt x="120" y="964"/>
                  </a:lnTo>
                  <a:lnTo>
                    <a:pt x="124" y="970"/>
                  </a:lnTo>
                  <a:lnTo>
                    <a:pt x="124" y="974"/>
                  </a:lnTo>
                  <a:lnTo>
                    <a:pt x="124" y="978"/>
                  </a:lnTo>
                  <a:lnTo>
                    <a:pt x="120" y="984"/>
                  </a:lnTo>
                  <a:lnTo>
                    <a:pt x="116" y="988"/>
                  </a:lnTo>
                  <a:lnTo>
                    <a:pt x="116" y="994"/>
                  </a:lnTo>
                  <a:lnTo>
                    <a:pt x="116" y="1004"/>
                  </a:lnTo>
                  <a:lnTo>
                    <a:pt x="116" y="1008"/>
                  </a:lnTo>
                  <a:lnTo>
                    <a:pt x="120" y="1012"/>
                  </a:lnTo>
                  <a:lnTo>
                    <a:pt x="126" y="1016"/>
                  </a:lnTo>
                  <a:lnTo>
                    <a:pt x="132" y="1014"/>
                  </a:lnTo>
                  <a:lnTo>
                    <a:pt x="148" y="1002"/>
                  </a:lnTo>
                  <a:close/>
                  <a:moveTo>
                    <a:pt x="1506" y="1812"/>
                  </a:moveTo>
                  <a:lnTo>
                    <a:pt x="1506" y="1812"/>
                  </a:lnTo>
                  <a:lnTo>
                    <a:pt x="1506" y="1828"/>
                  </a:lnTo>
                  <a:lnTo>
                    <a:pt x="1506" y="1832"/>
                  </a:lnTo>
                  <a:lnTo>
                    <a:pt x="1508" y="1836"/>
                  </a:lnTo>
                  <a:lnTo>
                    <a:pt x="1510" y="1838"/>
                  </a:lnTo>
                  <a:lnTo>
                    <a:pt x="1512" y="1840"/>
                  </a:lnTo>
                  <a:lnTo>
                    <a:pt x="1514" y="1840"/>
                  </a:lnTo>
                  <a:lnTo>
                    <a:pt x="1518" y="1840"/>
                  </a:lnTo>
                  <a:lnTo>
                    <a:pt x="1524" y="1838"/>
                  </a:lnTo>
                  <a:lnTo>
                    <a:pt x="1530" y="1834"/>
                  </a:lnTo>
                  <a:lnTo>
                    <a:pt x="1532" y="1828"/>
                  </a:lnTo>
                  <a:lnTo>
                    <a:pt x="1532" y="1822"/>
                  </a:lnTo>
                  <a:lnTo>
                    <a:pt x="1530" y="1816"/>
                  </a:lnTo>
                  <a:lnTo>
                    <a:pt x="1514" y="1806"/>
                  </a:lnTo>
                  <a:lnTo>
                    <a:pt x="1510" y="1804"/>
                  </a:lnTo>
                  <a:lnTo>
                    <a:pt x="1508" y="1804"/>
                  </a:lnTo>
                  <a:lnTo>
                    <a:pt x="1508" y="1806"/>
                  </a:lnTo>
                  <a:lnTo>
                    <a:pt x="1506" y="1808"/>
                  </a:lnTo>
                  <a:lnTo>
                    <a:pt x="1506" y="1812"/>
                  </a:lnTo>
                  <a:close/>
                  <a:moveTo>
                    <a:pt x="1910" y="1994"/>
                  </a:moveTo>
                  <a:lnTo>
                    <a:pt x="1910" y="1994"/>
                  </a:lnTo>
                  <a:lnTo>
                    <a:pt x="1904" y="1980"/>
                  </a:lnTo>
                  <a:lnTo>
                    <a:pt x="1892" y="1964"/>
                  </a:lnTo>
                  <a:lnTo>
                    <a:pt x="1884" y="1952"/>
                  </a:lnTo>
                  <a:lnTo>
                    <a:pt x="1872" y="1942"/>
                  </a:lnTo>
                  <a:lnTo>
                    <a:pt x="1846" y="1914"/>
                  </a:lnTo>
                  <a:lnTo>
                    <a:pt x="1832" y="1904"/>
                  </a:lnTo>
                  <a:lnTo>
                    <a:pt x="1826" y="1902"/>
                  </a:lnTo>
                  <a:lnTo>
                    <a:pt x="1812" y="1896"/>
                  </a:lnTo>
                  <a:lnTo>
                    <a:pt x="1808" y="1892"/>
                  </a:lnTo>
                  <a:lnTo>
                    <a:pt x="1800" y="1888"/>
                  </a:lnTo>
                  <a:lnTo>
                    <a:pt x="1796" y="1882"/>
                  </a:lnTo>
                  <a:lnTo>
                    <a:pt x="1784" y="1866"/>
                  </a:lnTo>
                  <a:lnTo>
                    <a:pt x="1780" y="1862"/>
                  </a:lnTo>
                  <a:lnTo>
                    <a:pt x="1772" y="1860"/>
                  </a:lnTo>
                  <a:lnTo>
                    <a:pt x="1768" y="1860"/>
                  </a:lnTo>
                  <a:lnTo>
                    <a:pt x="1766" y="1860"/>
                  </a:lnTo>
                  <a:lnTo>
                    <a:pt x="1764" y="1862"/>
                  </a:lnTo>
                  <a:lnTo>
                    <a:pt x="1762" y="1864"/>
                  </a:lnTo>
                  <a:lnTo>
                    <a:pt x="1762" y="1868"/>
                  </a:lnTo>
                  <a:lnTo>
                    <a:pt x="1768" y="1890"/>
                  </a:lnTo>
                  <a:lnTo>
                    <a:pt x="1772" y="1898"/>
                  </a:lnTo>
                  <a:lnTo>
                    <a:pt x="1776" y="1904"/>
                  </a:lnTo>
                  <a:lnTo>
                    <a:pt x="1784" y="1912"/>
                  </a:lnTo>
                  <a:lnTo>
                    <a:pt x="1796" y="1924"/>
                  </a:lnTo>
                  <a:lnTo>
                    <a:pt x="1804" y="1932"/>
                  </a:lnTo>
                  <a:lnTo>
                    <a:pt x="1814" y="1942"/>
                  </a:lnTo>
                  <a:lnTo>
                    <a:pt x="1824" y="1956"/>
                  </a:lnTo>
                  <a:lnTo>
                    <a:pt x="1836" y="1980"/>
                  </a:lnTo>
                  <a:lnTo>
                    <a:pt x="1840" y="1986"/>
                  </a:lnTo>
                  <a:lnTo>
                    <a:pt x="1846" y="1992"/>
                  </a:lnTo>
                  <a:lnTo>
                    <a:pt x="1862" y="2002"/>
                  </a:lnTo>
                  <a:lnTo>
                    <a:pt x="1876" y="2012"/>
                  </a:lnTo>
                  <a:lnTo>
                    <a:pt x="1892" y="2022"/>
                  </a:lnTo>
                  <a:lnTo>
                    <a:pt x="1898" y="2024"/>
                  </a:lnTo>
                  <a:lnTo>
                    <a:pt x="1906" y="2022"/>
                  </a:lnTo>
                  <a:lnTo>
                    <a:pt x="1910" y="2020"/>
                  </a:lnTo>
                  <a:lnTo>
                    <a:pt x="1916" y="2016"/>
                  </a:lnTo>
                  <a:lnTo>
                    <a:pt x="1916" y="2008"/>
                  </a:lnTo>
                  <a:lnTo>
                    <a:pt x="1910" y="1994"/>
                  </a:lnTo>
                  <a:close/>
                  <a:moveTo>
                    <a:pt x="1004" y="2148"/>
                  </a:moveTo>
                  <a:lnTo>
                    <a:pt x="1004" y="2148"/>
                  </a:lnTo>
                  <a:lnTo>
                    <a:pt x="998" y="2154"/>
                  </a:lnTo>
                  <a:lnTo>
                    <a:pt x="994" y="2160"/>
                  </a:lnTo>
                  <a:lnTo>
                    <a:pt x="982" y="2176"/>
                  </a:lnTo>
                  <a:lnTo>
                    <a:pt x="978" y="2182"/>
                  </a:lnTo>
                  <a:lnTo>
                    <a:pt x="970" y="2186"/>
                  </a:lnTo>
                  <a:lnTo>
                    <a:pt x="966" y="2188"/>
                  </a:lnTo>
                  <a:lnTo>
                    <a:pt x="954" y="2198"/>
                  </a:lnTo>
                  <a:lnTo>
                    <a:pt x="950" y="2202"/>
                  </a:lnTo>
                  <a:lnTo>
                    <a:pt x="950" y="2210"/>
                  </a:lnTo>
                  <a:lnTo>
                    <a:pt x="956" y="2234"/>
                  </a:lnTo>
                  <a:lnTo>
                    <a:pt x="958" y="2242"/>
                  </a:lnTo>
                  <a:lnTo>
                    <a:pt x="956" y="2248"/>
                  </a:lnTo>
                  <a:lnTo>
                    <a:pt x="952" y="2264"/>
                  </a:lnTo>
                  <a:lnTo>
                    <a:pt x="946" y="2278"/>
                  </a:lnTo>
                  <a:lnTo>
                    <a:pt x="942" y="2284"/>
                  </a:lnTo>
                  <a:lnTo>
                    <a:pt x="940" y="2290"/>
                  </a:lnTo>
                  <a:lnTo>
                    <a:pt x="938" y="2298"/>
                  </a:lnTo>
                  <a:lnTo>
                    <a:pt x="938" y="2302"/>
                  </a:lnTo>
                  <a:lnTo>
                    <a:pt x="938" y="2318"/>
                  </a:lnTo>
                  <a:lnTo>
                    <a:pt x="938" y="2322"/>
                  </a:lnTo>
                  <a:lnTo>
                    <a:pt x="940" y="2328"/>
                  </a:lnTo>
                  <a:lnTo>
                    <a:pt x="944" y="2336"/>
                  </a:lnTo>
                  <a:lnTo>
                    <a:pt x="952" y="2344"/>
                  </a:lnTo>
                  <a:lnTo>
                    <a:pt x="958" y="2346"/>
                  </a:lnTo>
                  <a:lnTo>
                    <a:pt x="966" y="2346"/>
                  </a:lnTo>
                  <a:lnTo>
                    <a:pt x="970" y="2342"/>
                  </a:lnTo>
                  <a:lnTo>
                    <a:pt x="978" y="2340"/>
                  </a:lnTo>
                  <a:lnTo>
                    <a:pt x="986" y="2340"/>
                  </a:lnTo>
                  <a:lnTo>
                    <a:pt x="990" y="2340"/>
                  </a:lnTo>
                  <a:lnTo>
                    <a:pt x="996" y="2338"/>
                  </a:lnTo>
                  <a:lnTo>
                    <a:pt x="1000" y="2332"/>
                  </a:lnTo>
                  <a:lnTo>
                    <a:pt x="1034" y="2210"/>
                  </a:lnTo>
                  <a:lnTo>
                    <a:pt x="1036" y="2194"/>
                  </a:lnTo>
                  <a:lnTo>
                    <a:pt x="1036" y="2190"/>
                  </a:lnTo>
                  <a:lnTo>
                    <a:pt x="1036" y="2174"/>
                  </a:lnTo>
                  <a:lnTo>
                    <a:pt x="1036" y="2160"/>
                  </a:lnTo>
                  <a:lnTo>
                    <a:pt x="1036" y="2154"/>
                  </a:lnTo>
                  <a:lnTo>
                    <a:pt x="1034" y="2146"/>
                  </a:lnTo>
                  <a:lnTo>
                    <a:pt x="1030" y="2140"/>
                  </a:lnTo>
                  <a:lnTo>
                    <a:pt x="1028" y="2138"/>
                  </a:lnTo>
                  <a:lnTo>
                    <a:pt x="1026" y="2136"/>
                  </a:lnTo>
                  <a:lnTo>
                    <a:pt x="1024" y="2136"/>
                  </a:lnTo>
                  <a:lnTo>
                    <a:pt x="1020" y="2138"/>
                  </a:lnTo>
                  <a:lnTo>
                    <a:pt x="1004" y="2148"/>
                  </a:lnTo>
                  <a:close/>
                  <a:moveTo>
                    <a:pt x="184" y="906"/>
                  </a:moveTo>
                  <a:lnTo>
                    <a:pt x="184" y="906"/>
                  </a:lnTo>
                  <a:lnTo>
                    <a:pt x="186" y="902"/>
                  </a:lnTo>
                  <a:lnTo>
                    <a:pt x="188" y="900"/>
                  </a:lnTo>
                  <a:lnTo>
                    <a:pt x="192" y="902"/>
                  </a:lnTo>
                  <a:lnTo>
                    <a:pt x="194" y="908"/>
                  </a:lnTo>
                  <a:lnTo>
                    <a:pt x="194" y="912"/>
                  </a:lnTo>
                  <a:lnTo>
                    <a:pt x="194" y="926"/>
                  </a:lnTo>
                  <a:lnTo>
                    <a:pt x="194" y="928"/>
                  </a:lnTo>
                  <a:lnTo>
                    <a:pt x="198" y="930"/>
                  </a:lnTo>
                  <a:lnTo>
                    <a:pt x="208" y="930"/>
                  </a:lnTo>
                  <a:lnTo>
                    <a:pt x="212" y="932"/>
                  </a:lnTo>
                  <a:lnTo>
                    <a:pt x="218" y="934"/>
                  </a:lnTo>
                  <a:lnTo>
                    <a:pt x="222" y="940"/>
                  </a:lnTo>
                  <a:lnTo>
                    <a:pt x="222" y="944"/>
                  </a:lnTo>
                  <a:lnTo>
                    <a:pt x="222" y="954"/>
                  </a:lnTo>
                  <a:lnTo>
                    <a:pt x="220" y="960"/>
                  </a:lnTo>
                  <a:lnTo>
                    <a:pt x="216" y="964"/>
                  </a:lnTo>
                  <a:lnTo>
                    <a:pt x="210" y="966"/>
                  </a:lnTo>
                  <a:lnTo>
                    <a:pt x="198" y="974"/>
                  </a:lnTo>
                  <a:lnTo>
                    <a:pt x="196" y="978"/>
                  </a:lnTo>
                  <a:lnTo>
                    <a:pt x="198" y="980"/>
                  </a:lnTo>
                  <a:lnTo>
                    <a:pt x="202" y="980"/>
                  </a:lnTo>
                  <a:lnTo>
                    <a:pt x="204" y="984"/>
                  </a:lnTo>
                  <a:lnTo>
                    <a:pt x="202" y="988"/>
                  </a:lnTo>
                  <a:lnTo>
                    <a:pt x="198" y="994"/>
                  </a:lnTo>
                  <a:lnTo>
                    <a:pt x="194" y="998"/>
                  </a:lnTo>
                  <a:lnTo>
                    <a:pt x="194" y="1004"/>
                  </a:lnTo>
                  <a:lnTo>
                    <a:pt x="194" y="1008"/>
                  </a:lnTo>
                  <a:lnTo>
                    <a:pt x="198" y="1008"/>
                  </a:lnTo>
                  <a:lnTo>
                    <a:pt x="208" y="1008"/>
                  </a:lnTo>
                  <a:lnTo>
                    <a:pt x="210" y="1010"/>
                  </a:lnTo>
                  <a:lnTo>
                    <a:pt x="210" y="1016"/>
                  </a:lnTo>
                  <a:lnTo>
                    <a:pt x="206" y="1020"/>
                  </a:lnTo>
                  <a:lnTo>
                    <a:pt x="202" y="1028"/>
                  </a:lnTo>
                  <a:lnTo>
                    <a:pt x="196" y="1032"/>
                  </a:lnTo>
                  <a:lnTo>
                    <a:pt x="190" y="1034"/>
                  </a:lnTo>
                  <a:lnTo>
                    <a:pt x="186" y="1038"/>
                  </a:lnTo>
                  <a:lnTo>
                    <a:pt x="184" y="1042"/>
                  </a:lnTo>
                  <a:lnTo>
                    <a:pt x="186" y="1046"/>
                  </a:lnTo>
                  <a:lnTo>
                    <a:pt x="188" y="1048"/>
                  </a:lnTo>
                  <a:lnTo>
                    <a:pt x="192" y="1046"/>
                  </a:lnTo>
                  <a:lnTo>
                    <a:pt x="194" y="1042"/>
                  </a:lnTo>
                  <a:lnTo>
                    <a:pt x="194" y="1040"/>
                  </a:lnTo>
                  <a:lnTo>
                    <a:pt x="198" y="1038"/>
                  </a:lnTo>
                  <a:lnTo>
                    <a:pt x="208" y="1038"/>
                  </a:lnTo>
                  <a:lnTo>
                    <a:pt x="212" y="1036"/>
                  </a:lnTo>
                  <a:lnTo>
                    <a:pt x="218" y="1034"/>
                  </a:lnTo>
                  <a:lnTo>
                    <a:pt x="222" y="1032"/>
                  </a:lnTo>
                  <a:lnTo>
                    <a:pt x="228" y="1034"/>
                  </a:lnTo>
                  <a:lnTo>
                    <a:pt x="232" y="1036"/>
                  </a:lnTo>
                  <a:lnTo>
                    <a:pt x="238" y="1034"/>
                  </a:lnTo>
                  <a:lnTo>
                    <a:pt x="244" y="1030"/>
                  </a:lnTo>
                  <a:lnTo>
                    <a:pt x="250" y="1028"/>
                  </a:lnTo>
                  <a:lnTo>
                    <a:pt x="254" y="1028"/>
                  </a:lnTo>
                  <a:lnTo>
                    <a:pt x="262" y="1028"/>
                  </a:lnTo>
                  <a:lnTo>
                    <a:pt x="268" y="1024"/>
                  </a:lnTo>
                  <a:lnTo>
                    <a:pt x="274" y="1022"/>
                  </a:lnTo>
                  <a:lnTo>
                    <a:pt x="280" y="1018"/>
                  </a:lnTo>
                  <a:lnTo>
                    <a:pt x="282" y="1014"/>
                  </a:lnTo>
                  <a:lnTo>
                    <a:pt x="282" y="1008"/>
                  </a:lnTo>
                  <a:lnTo>
                    <a:pt x="286" y="1004"/>
                  </a:lnTo>
                  <a:lnTo>
                    <a:pt x="290" y="998"/>
                  </a:lnTo>
                  <a:lnTo>
                    <a:pt x="290" y="990"/>
                  </a:lnTo>
                  <a:lnTo>
                    <a:pt x="290" y="988"/>
                  </a:lnTo>
                  <a:lnTo>
                    <a:pt x="290" y="982"/>
                  </a:lnTo>
                  <a:lnTo>
                    <a:pt x="286" y="980"/>
                  </a:lnTo>
                  <a:lnTo>
                    <a:pt x="276" y="980"/>
                  </a:lnTo>
                  <a:lnTo>
                    <a:pt x="272" y="978"/>
                  </a:lnTo>
                  <a:lnTo>
                    <a:pt x="272" y="974"/>
                  </a:lnTo>
                  <a:lnTo>
                    <a:pt x="272" y="964"/>
                  </a:lnTo>
                  <a:lnTo>
                    <a:pt x="268" y="952"/>
                  </a:lnTo>
                  <a:lnTo>
                    <a:pt x="266" y="946"/>
                  </a:lnTo>
                  <a:lnTo>
                    <a:pt x="256" y="934"/>
                  </a:lnTo>
                  <a:lnTo>
                    <a:pt x="252" y="930"/>
                  </a:lnTo>
                  <a:lnTo>
                    <a:pt x="250" y="922"/>
                  </a:lnTo>
                  <a:lnTo>
                    <a:pt x="244" y="908"/>
                  </a:lnTo>
                  <a:lnTo>
                    <a:pt x="242" y="902"/>
                  </a:lnTo>
                  <a:lnTo>
                    <a:pt x="238" y="900"/>
                  </a:lnTo>
                  <a:lnTo>
                    <a:pt x="232" y="900"/>
                  </a:lnTo>
                  <a:lnTo>
                    <a:pt x="228" y="896"/>
                  </a:lnTo>
                  <a:lnTo>
                    <a:pt x="226" y="890"/>
                  </a:lnTo>
                  <a:lnTo>
                    <a:pt x="226" y="884"/>
                  </a:lnTo>
                  <a:lnTo>
                    <a:pt x="228" y="878"/>
                  </a:lnTo>
                  <a:lnTo>
                    <a:pt x="232" y="866"/>
                  </a:lnTo>
                  <a:lnTo>
                    <a:pt x="234" y="862"/>
                  </a:lnTo>
                  <a:lnTo>
                    <a:pt x="238" y="856"/>
                  </a:lnTo>
                  <a:lnTo>
                    <a:pt x="238" y="854"/>
                  </a:lnTo>
                  <a:lnTo>
                    <a:pt x="238" y="852"/>
                  </a:lnTo>
                  <a:lnTo>
                    <a:pt x="236" y="848"/>
                  </a:lnTo>
                  <a:lnTo>
                    <a:pt x="230" y="846"/>
                  </a:lnTo>
                  <a:lnTo>
                    <a:pt x="224" y="844"/>
                  </a:lnTo>
                  <a:lnTo>
                    <a:pt x="218" y="846"/>
                  </a:lnTo>
                  <a:lnTo>
                    <a:pt x="212" y="848"/>
                  </a:lnTo>
                  <a:lnTo>
                    <a:pt x="208" y="846"/>
                  </a:lnTo>
                  <a:lnTo>
                    <a:pt x="206" y="840"/>
                  </a:lnTo>
                  <a:lnTo>
                    <a:pt x="206" y="834"/>
                  </a:lnTo>
                  <a:lnTo>
                    <a:pt x="210" y="830"/>
                  </a:lnTo>
                  <a:lnTo>
                    <a:pt x="210" y="824"/>
                  </a:lnTo>
                  <a:lnTo>
                    <a:pt x="210" y="822"/>
                  </a:lnTo>
                  <a:lnTo>
                    <a:pt x="208" y="822"/>
                  </a:lnTo>
                  <a:lnTo>
                    <a:pt x="198" y="822"/>
                  </a:lnTo>
                  <a:lnTo>
                    <a:pt x="194" y="824"/>
                  </a:lnTo>
                  <a:lnTo>
                    <a:pt x="190" y="830"/>
                  </a:lnTo>
                  <a:lnTo>
                    <a:pt x="188" y="834"/>
                  </a:lnTo>
                  <a:lnTo>
                    <a:pt x="178" y="846"/>
                  </a:lnTo>
                  <a:lnTo>
                    <a:pt x="176" y="852"/>
                  </a:lnTo>
                  <a:lnTo>
                    <a:pt x="174" y="856"/>
                  </a:lnTo>
                  <a:lnTo>
                    <a:pt x="174" y="866"/>
                  </a:lnTo>
                  <a:lnTo>
                    <a:pt x="174" y="876"/>
                  </a:lnTo>
                  <a:lnTo>
                    <a:pt x="174" y="888"/>
                  </a:lnTo>
                  <a:lnTo>
                    <a:pt x="174" y="892"/>
                  </a:lnTo>
                  <a:lnTo>
                    <a:pt x="176" y="900"/>
                  </a:lnTo>
                  <a:lnTo>
                    <a:pt x="178" y="906"/>
                  </a:lnTo>
                  <a:lnTo>
                    <a:pt x="182" y="908"/>
                  </a:lnTo>
                  <a:lnTo>
                    <a:pt x="184" y="906"/>
                  </a:lnTo>
                  <a:close/>
                  <a:moveTo>
                    <a:pt x="3012" y="2570"/>
                  </a:moveTo>
                  <a:lnTo>
                    <a:pt x="3012" y="2570"/>
                  </a:lnTo>
                  <a:lnTo>
                    <a:pt x="3004" y="2572"/>
                  </a:lnTo>
                  <a:lnTo>
                    <a:pt x="2996" y="2570"/>
                  </a:lnTo>
                  <a:lnTo>
                    <a:pt x="2992" y="2568"/>
                  </a:lnTo>
                  <a:lnTo>
                    <a:pt x="2986" y="2562"/>
                  </a:lnTo>
                  <a:lnTo>
                    <a:pt x="2980" y="2556"/>
                  </a:lnTo>
                  <a:lnTo>
                    <a:pt x="2978" y="2552"/>
                  </a:lnTo>
                  <a:lnTo>
                    <a:pt x="2976" y="2544"/>
                  </a:lnTo>
                  <a:lnTo>
                    <a:pt x="2974" y="2536"/>
                  </a:lnTo>
                  <a:lnTo>
                    <a:pt x="2974" y="2532"/>
                  </a:lnTo>
                  <a:lnTo>
                    <a:pt x="2972" y="2526"/>
                  </a:lnTo>
                  <a:lnTo>
                    <a:pt x="2968" y="2522"/>
                  </a:lnTo>
                  <a:lnTo>
                    <a:pt x="2962" y="2518"/>
                  </a:lnTo>
                  <a:lnTo>
                    <a:pt x="2958" y="2518"/>
                  </a:lnTo>
                  <a:lnTo>
                    <a:pt x="2958" y="2522"/>
                  </a:lnTo>
                  <a:lnTo>
                    <a:pt x="2970" y="2548"/>
                  </a:lnTo>
                  <a:lnTo>
                    <a:pt x="2974" y="2554"/>
                  </a:lnTo>
                  <a:lnTo>
                    <a:pt x="2974" y="2562"/>
                  </a:lnTo>
                  <a:lnTo>
                    <a:pt x="2974" y="2566"/>
                  </a:lnTo>
                  <a:lnTo>
                    <a:pt x="2974" y="2574"/>
                  </a:lnTo>
                  <a:lnTo>
                    <a:pt x="2970" y="2580"/>
                  </a:lnTo>
                  <a:lnTo>
                    <a:pt x="2960" y="2596"/>
                  </a:lnTo>
                  <a:lnTo>
                    <a:pt x="2958" y="2600"/>
                  </a:lnTo>
                  <a:lnTo>
                    <a:pt x="2958" y="2602"/>
                  </a:lnTo>
                  <a:lnTo>
                    <a:pt x="2960" y="2604"/>
                  </a:lnTo>
                  <a:lnTo>
                    <a:pt x="2962" y="2606"/>
                  </a:lnTo>
                  <a:lnTo>
                    <a:pt x="2968" y="2610"/>
                  </a:lnTo>
                  <a:lnTo>
                    <a:pt x="2972" y="2614"/>
                  </a:lnTo>
                  <a:lnTo>
                    <a:pt x="2974" y="2620"/>
                  </a:lnTo>
                  <a:lnTo>
                    <a:pt x="2974" y="2624"/>
                  </a:lnTo>
                  <a:lnTo>
                    <a:pt x="2976" y="2632"/>
                  </a:lnTo>
                  <a:lnTo>
                    <a:pt x="2980" y="2638"/>
                  </a:lnTo>
                  <a:lnTo>
                    <a:pt x="2982" y="2638"/>
                  </a:lnTo>
                  <a:lnTo>
                    <a:pt x="2984" y="2638"/>
                  </a:lnTo>
                  <a:lnTo>
                    <a:pt x="2990" y="2636"/>
                  </a:lnTo>
                  <a:lnTo>
                    <a:pt x="2998" y="2628"/>
                  </a:lnTo>
                  <a:lnTo>
                    <a:pt x="3002" y="2622"/>
                  </a:lnTo>
                  <a:lnTo>
                    <a:pt x="3004" y="2614"/>
                  </a:lnTo>
                  <a:lnTo>
                    <a:pt x="3004" y="2610"/>
                  </a:lnTo>
                  <a:lnTo>
                    <a:pt x="3006" y="2604"/>
                  </a:lnTo>
                  <a:lnTo>
                    <a:pt x="3008" y="2598"/>
                  </a:lnTo>
                  <a:lnTo>
                    <a:pt x="3018" y="2588"/>
                  </a:lnTo>
                  <a:lnTo>
                    <a:pt x="3028" y="2578"/>
                  </a:lnTo>
                  <a:lnTo>
                    <a:pt x="3030" y="2574"/>
                  </a:lnTo>
                  <a:lnTo>
                    <a:pt x="3028" y="2568"/>
                  </a:lnTo>
                  <a:lnTo>
                    <a:pt x="3024" y="2566"/>
                  </a:lnTo>
                  <a:lnTo>
                    <a:pt x="3016" y="2568"/>
                  </a:lnTo>
                  <a:lnTo>
                    <a:pt x="3012" y="2570"/>
                  </a:lnTo>
                  <a:close/>
                  <a:moveTo>
                    <a:pt x="490" y="1328"/>
                  </a:moveTo>
                  <a:lnTo>
                    <a:pt x="490" y="1328"/>
                  </a:lnTo>
                  <a:lnTo>
                    <a:pt x="494" y="1328"/>
                  </a:lnTo>
                  <a:lnTo>
                    <a:pt x="496" y="1328"/>
                  </a:lnTo>
                  <a:lnTo>
                    <a:pt x="498" y="1326"/>
                  </a:lnTo>
                  <a:lnTo>
                    <a:pt x="498" y="1324"/>
                  </a:lnTo>
                  <a:lnTo>
                    <a:pt x="498" y="1320"/>
                  </a:lnTo>
                  <a:lnTo>
                    <a:pt x="498" y="1306"/>
                  </a:lnTo>
                  <a:lnTo>
                    <a:pt x="496" y="1304"/>
                  </a:lnTo>
                  <a:lnTo>
                    <a:pt x="490" y="1302"/>
                  </a:lnTo>
                  <a:lnTo>
                    <a:pt x="486" y="1302"/>
                  </a:lnTo>
                  <a:lnTo>
                    <a:pt x="470" y="1304"/>
                  </a:lnTo>
                  <a:lnTo>
                    <a:pt x="456" y="1310"/>
                  </a:lnTo>
                  <a:lnTo>
                    <a:pt x="454" y="1312"/>
                  </a:lnTo>
                  <a:lnTo>
                    <a:pt x="456" y="1314"/>
                  </a:lnTo>
                  <a:lnTo>
                    <a:pt x="470" y="1320"/>
                  </a:lnTo>
                  <a:lnTo>
                    <a:pt x="486" y="1326"/>
                  </a:lnTo>
                  <a:lnTo>
                    <a:pt x="490" y="1328"/>
                  </a:lnTo>
                  <a:close/>
                  <a:moveTo>
                    <a:pt x="2940" y="2636"/>
                  </a:moveTo>
                  <a:lnTo>
                    <a:pt x="2940" y="2636"/>
                  </a:lnTo>
                  <a:lnTo>
                    <a:pt x="2938" y="2636"/>
                  </a:lnTo>
                  <a:lnTo>
                    <a:pt x="2936" y="2636"/>
                  </a:lnTo>
                  <a:lnTo>
                    <a:pt x="2932" y="2640"/>
                  </a:lnTo>
                  <a:lnTo>
                    <a:pt x="2928" y="2644"/>
                  </a:lnTo>
                  <a:lnTo>
                    <a:pt x="2922" y="2658"/>
                  </a:lnTo>
                  <a:lnTo>
                    <a:pt x="2920" y="2664"/>
                  </a:lnTo>
                  <a:lnTo>
                    <a:pt x="2910" y="2676"/>
                  </a:lnTo>
                  <a:lnTo>
                    <a:pt x="2906" y="2680"/>
                  </a:lnTo>
                  <a:lnTo>
                    <a:pt x="2898" y="2684"/>
                  </a:lnTo>
                  <a:lnTo>
                    <a:pt x="2884" y="2688"/>
                  </a:lnTo>
                  <a:lnTo>
                    <a:pt x="2878" y="2692"/>
                  </a:lnTo>
                  <a:lnTo>
                    <a:pt x="2872" y="2698"/>
                  </a:lnTo>
                  <a:lnTo>
                    <a:pt x="2870" y="2704"/>
                  </a:lnTo>
                  <a:lnTo>
                    <a:pt x="2864" y="2718"/>
                  </a:lnTo>
                  <a:lnTo>
                    <a:pt x="2860" y="2732"/>
                  </a:lnTo>
                  <a:lnTo>
                    <a:pt x="2858" y="2740"/>
                  </a:lnTo>
                  <a:lnTo>
                    <a:pt x="2862" y="2746"/>
                  </a:lnTo>
                  <a:lnTo>
                    <a:pt x="2874" y="2754"/>
                  </a:lnTo>
                  <a:lnTo>
                    <a:pt x="2880" y="2756"/>
                  </a:lnTo>
                  <a:lnTo>
                    <a:pt x="2886" y="2758"/>
                  </a:lnTo>
                  <a:lnTo>
                    <a:pt x="2894" y="2756"/>
                  </a:lnTo>
                  <a:lnTo>
                    <a:pt x="2898" y="2754"/>
                  </a:lnTo>
                  <a:lnTo>
                    <a:pt x="2904" y="2750"/>
                  </a:lnTo>
                  <a:lnTo>
                    <a:pt x="2908" y="2742"/>
                  </a:lnTo>
                  <a:lnTo>
                    <a:pt x="2914" y="2728"/>
                  </a:lnTo>
                  <a:lnTo>
                    <a:pt x="2916" y="2712"/>
                  </a:lnTo>
                  <a:lnTo>
                    <a:pt x="2916" y="2708"/>
                  </a:lnTo>
                  <a:lnTo>
                    <a:pt x="2918" y="2702"/>
                  </a:lnTo>
                  <a:lnTo>
                    <a:pt x="2922" y="2696"/>
                  </a:lnTo>
                  <a:lnTo>
                    <a:pt x="2930" y="2686"/>
                  </a:lnTo>
                  <a:lnTo>
                    <a:pt x="2940" y="2676"/>
                  </a:lnTo>
                  <a:lnTo>
                    <a:pt x="2952" y="2668"/>
                  </a:lnTo>
                  <a:lnTo>
                    <a:pt x="2958" y="2666"/>
                  </a:lnTo>
                  <a:lnTo>
                    <a:pt x="2962" y="2660"/>
                  </a:lnTo>
                  <a:lnTo>
                    <a:pt x="2964" y="2654"/>
                  </a:lnTo>
                  <a:lnTo>
                    <a:pt x="2964" y="2650"/>
                  </a:lnTo>
                  <a:lnTo>
                    <a:pt x="2964" y="2646"/>
                  </a:lnTo>
                  <a:lnTo>
                    <a:pt x="2962" y="2644"/>
                  </a:lnTo>
                  <a:lnTo>
                    <a:pt x="2960" y="2642"/>
                  </a:lnTo>
                  <a:lnTo>
                    <a:pt x="2956" y="2642"/>
                  </a:lnTo>
                  <a:lnTo>
                    <a:pt x="2954" y="2642"/>
                  </a:lnTo>
                  <a:lnTo>
                    <a:pt x="2946" y="2640"/>
                  </a:lnTo>
                  <a:lnTo>
                    <a:pt x="2940" y="2636"/>
                  </a:lnTo>
                  <a:close/>
                  <a:moveTo>
                    <a:pt x="406" y="1248"/>
                  </a:moveTo>
                  <a:lnTo>
                    <a:pt x="406" y="1248"/>
                  </a:lnTo>
                  <a:lnTo>
                    <a:pt x="402" y="1254"/>
                  </a:lnTo>
                  <a:lnTo>
                    <a:pt x="400" y="1260"/>
                  </a:lnTo>
                  <a:lnTo>
                    <a:pt x="400" y="1274"/>
                  </a:lnTo>
                  <a:lnTo>
                    <a:pt x="400" y="1278"/>
                  </a:lnTo>
                  <a:lnTo>
                    <a:pt x="402" y="1280"/>
                  </a:lnTo>
                  <a:lnTo>
                    <a:pt x="404" y="1282"/>
                  </a:lnTo>
                  <a:lnTo>
                    <a:pt x="408" y="1282"/>
                  </a:lnTo>
                  <a:lnTo>
                    <a:pt x="412" y="1282"/>
                  </a:lnTo>
                  <a:lnTo>
                    <a:pt x="416" y="1282"/>
                  </a:lnTo>
                  <a:lnTo>
                    <a:pt x="418" y="1280"/>
                  </a:lnTo>
                  <a:lnTo>
                    <a:pt x="420" y="1278"/>
                  </a:lnTo>
                  <a:lnTo>
                    <a:pt x="420" y="1274"/>
                  </a:lnTo>
                  <a:lnTo>
                    <a:pt x="420" y="1270"/>
                  </a:lnTo>
                  <a:lnTo>
                    <a:pt x="418" y="1262"/>
                  </a:lnTo>
                  <a:lnTo>
                    <a:pt x="416" y="1256"/>
                  </a:lnTo>
                  <a:lnTo>
                    <a:pt x="414" y="1250"/>
                  </a:lnTo>
                  <a:lnTo>
                    <a:pt x="412" y="1248"/>
                  </a:lnTo>
                  <a:lnTo>
                    <a:pt x="410" y="1246"/>
                  </a:lnTo>
                  <a:lnTo>
                    <a:pt x="408" y="1246"/>
                  </a:lnTo>
                  <a:lnTo>
                    <a:pt x="406" y="1248"/>
                  </a:lnTo>
                  <a:close/>
                  <a:moveTo>
                    <a:pt x="2286" y="1412"/>
                  </a:moveTo>
                  <a:lnTo>
                    <a:pt x="2286" y="1412"/>
                  </a:lnTo>
                  <a:lnTo>
                    <a:pt x="2290" y="1424"/>
                  </a:lnTo>
                  <a:lnTo>
                    <a:pt x="2290" y="1426"/>
                  </a:lnTo>
                  <a:lnTo>
                    <a:pt x="2292" y="1426"/>
                  </a:lnTo>
                  <a:lnTo>
                    <a:pt x="2296" y="1426"/>
                  </a:lnTo>
                  <a:lnTo>
                    <a:pt x="2302" y="1422"/>
                  </a:lnTo>
                  <a:lnTo>
                    <a:pt x="2306" y="1418"/>
                  </a:lnTo>
                  <a:lnTo>
                    <a:pt x="2308" y="1410"/>
                  </a:lnTo>
                  <a:lnTo>
                    <a:pt x="2308" y="1408"/>
                  </a:lnTo>
                  <a:lnTo>
                    <a:pt x="2308" y="1394"/>
                  </a:lnTo>
                  <a:lnTo>
                    <a:pt x="2308" y="1392"/>
                  </a:lnTo>
                  <a:lnTo>
                    <a:pt x="2306" y="1392"/>
                  </a:lnTo>
                  <a:lnTo>
                    <a:pt x="2302" y="1392"/>
                  </a:lnTo>
                  <a:lnTo>
                    <a:pt x="2288" y="1396"/>
                  </a:lnTo>
                  <a:lnTo>
                    <a:pt x="2284" y="1398"/>
                  </a:lnTo>
                  <a:lnTo>
                    <a:pt x="2284" y="1400"/>
                  </a:lnTo>
                  <a:lnTo>
                    <a:pt x="2282" y="1404"/>
                  </a:lnTo>
                  <a:lnTo>
                    <a:pt x="2284" y="1406"/>
                  </a:lnTo>
                  <a:lnTo>
                    <a:pt x="2286" y="1412"/>
                  </a:lnTo>
                  <a:close/>
                  <a:moveTo>
                    <a:pt x="414" y="1210"/>
                  </a:moveTo>
                  <a:lnTo>
                    <a:pt x="414" y="1210"/>
                  </a:lnTo>
                  <a:lnTo>
                    <a:pt x="412" y="1208"/>
                  </a:lnTo>
                  <a:lnTo>
                    <a:pt x="410" y="1206"/>
                  </a:lnTo>
                  <a:lnTo>
                    <a:pt x="406" y="1206"/>
                  </a:lnTo>
                  <a:lnTo>
                    <a:pt x="404" y="1208"/>
                  </a:lnTo>
                  <a:lnTo>
                    <a:pt x="398" y="1210"/>
                  </a:lnTo>
                  <a:lnTo>
                    <a:pt x="396" y="1212"/>
                  </a:lnTo>
                  <a:lnTo>
                    <a:pt x="394" y="1214"/>
                  </a:lnTo>
                  <a:lnTo>
                    <a:pt x="394" y="1216"/>
                  </a:lnTo>
                  <a:lnTo>
                    <a:pt x="396" y="1220"/>
                  </a:lnTo>
                  <a:lnTo>
                    <a:pt x="404" y="1228"/>
                  </a:lnTo>
                  <a:lnTo>
                    <a:pt x="410" y="1230"/>
                  </a:lnTo>
                  <a:lnTo>
                    <a:pt x="412" y="1230"/>
                  </a:lnTo>
                  <a:lnTo>
                    <a:pt x="416" y="1228"/>
                  </a:lnTo>
                  <a:lnTo>
                    <a:pt x="418" y="1224"/>
                  </a:lnTo>
                  <a:lnTo>
                    <a:pt x="416" y="1216"/>
                  </a:lnTo>
                  <a:lnTo>
                    <a:pt x="414" y="1210"/>
                  </a:lnTo>
                  <a:close/>
                  <a:moveTo>
                    <a:pt x="2302" y="1960"/>
                  </a:moveTo>
                  <a:lnTo>
                    <a:pt x="2302" y="1960"/>
                  </a:lnTo>
                  <a:lnTo>
                    <a:pt x="2302" y="1962"/>
                  </a:lnTo>
                  <a:lnTo>
                    <a:pt x="2302" y="1966"/>
                  </a:lnTo>
                  <a:lnTo>
                    <a:pt x="2304" y="1968"/>
                  </a:lnTo>
                  <a:lnTo>
                    <a:pt x="2306" y="1970"/>
                  </a:lnTo>
                  <a:lnTo>
                    <a:pt x="2312" y="1974"/>
                  </a:lnTo>
                  <a:lnTo>
                    <a:pt x="2324" y="1982"/>
                  </a:lnTo>
                  <a:lnTo>
                    <a:pt x="2326" y="1988"/>
                  </a:lnTo>
                  <a:lnTo>
                    <a:pt x="2328" y="1994"/>
                  </a:lnTo>
                  <a:lnTo>
                    <a:pt x="2328" y="1998"/>
                  </a:lnTo>
                  <a:lnTo>
                    <a:pt x="2328" y="2002"/>
                  </a:lnTo>
                  <a:lnTo>
                    <a:pt x="2330" y="2004"/>
                  </a:lnTo>
                  <a:lnTo>
                    <a:pt x="2334" y="2006"/>
                  </a:lnTo>
                  <a:lnTo>
                    <a:pt x="2336" y="2006"/>
                  </a:lnTo>
                  <a:lnTo>
                    <a:pt x="2340" y="2006"/>
                  </a:lnTo>
                  <a:lnTo>
                    <a:pt x="2352" y="2006"/>
                  </a:lnTo>
                  <a:lnTo>
                    <a:pt x="2358" y="2008"/>
                  </a:lnTo>
                  <a:lnTo>
                    <a:pt x="2364" y="2010"/>
                  </a:lnTo>
                  <a:lnTo>
                    <a:pt x="2380" y="2022"/>
                  </a:lnTo>
                  <a:lnTo>
                    <a:pt x="2394" y="2030"/>
                  </a:lnTo>
                  <a:lnTo>
                    <a:pt x="2420" y="2042"/>
                  </a:lnTo>
                  <a:lnTo>
                    <a:pt x="2424" y="2046"/>
                  </a:lnTo>
                  <a:lnTo>
                    <a:pt x="2426" y="2050"/>
                  </a:lnTo>
                  <a:lnTo>
                    <a:pt x="2424" y="2054"/>
                  </a:lnTo>
                  <a:lnTo>
                    <a:pt x="2420" y="2058"/>
                  </a:lnTo>
                  <a:lnTo>
                    <a:pt x="2414" y="2062"/>
                  </a:lnTo>
                  <a:lnTo>
                    <a:pt x="2410" y="2064"/>
                  </a:lnTo>
                  <a:lnTo>
                    <a:pt x="2414" y="2066"/>
                  </a:lnTo>
                  <a:lnTo>
                    <a:pt x="2418" y="2066"/>
                  </a:lnTo>
                  <a:lnTo>
                    <a:pt x="2426" y="2066"/>
                  </a:lnTo>
                  <a:lnTo>
                    <a:pt x="2434" y="2068"/>
                  </a:lnTo>
                  <a:lnTo>
                    <a:pt x="2438" y="2072"/>
                  </a:lnTo>
                  <a:lnTo>
                    <a:pt x="2452" y="2078"/>
                  </a:lnTo>
                  <a:lnTo>
                    <a:pt x="2458" y="2082"/>
                  </a:lnTo>
                  <a:lnTo>
                    <a:pt x="2470" y="2084"/>
                  </a:lnTo>
                  <a:lnTo>
                    <a:pt x="2476" y="2084"/>
                  </a:lnTo>
                  <a:lnTo>
                    <a:pt x="2480" y="2080"/>
                  </a:lnTo>
                  <a:lnTo>
                    <a:pt x="2488" y="2070"/>
                  </a:lnTo>
                  <a:lnTo>
                    <a:pt x="2502" y="2062"/>
                  </a:lnTo>
                  <a:lnTo>
                    <a:pt x="2508" y="2058"/>
                  </a:lnTo>
                  <a:lnTo>
                    <a:pt x="2514" y="2058"/>
                  </a:lnTo>
                  <a:lnTo>
                    <a:pt x="2522" y="2058"/>
                  </a:lnTo>
                  <a:lnTo>
                    <a:pt x="2526" y="2062"/>
                  </a:lnTo>
                  <a:lnTo>
                    <a:pt x="2540" y="2070"/>
                  </a:lnTo>
                  <a:lnTo>
                    <a:pt x="2558" y="2088"/>
                  </a:lnTo>
                  <a:lnTo>
                    <a:pt x="2570" y="2098"/>
                  </a:lnTo>
                  <a:lnTo>
                    <a:pt x="2576" y="2100"/>
                  </a:lnTo>
                  <a:lnTo>
                    <a:pt x="2578" y="2102"/>
                  </a:lnTo>
                  <a:lnTo>
                    <a:pt x="2580" y="2100"/>
                  </a:lnTo>
                  <a:lnTo>
                    <a:pt x="2582" y="2100"/>
                  </a:lnTo>
                  <a:lnTo>
                    <a:pt x="2582" y="2096"/>
                  </a:lnTo>
                  <a:lnTo>
                    <a:pt x="2582" y="2082"/>
                  </a:lnTo>
                  <a:lnTo>
                    <a:pt x="2580" y="2076"/>
                  </a:lnTo>
                  <a:lnTo>
                    <a:pt x="2576" y="2072"/>
                  </a:lnTo>
                  <a:lnTo>
                    <a:pt x="2560" y="2068"/>
                  </a:lnTo>
                  <a:lnTo>
                    <a:pt x="2556" y="2064"/>
                  </a:lnTo>
                  <a:lnTo>
                    <a:pt x="2554" y="2058"/>
                  </a:lnTo>
                  <a:lnTo>
                    <a:pt x="2554" y="2054"/>
                  </a:lnTo>
                  <a:lnTo>
                    <a:pt x="2554" y="2046"/>
                  </a:lnTo>
                  <a:lnTo>
                    <a:pt x="2558" y="2040"/>
                  </a:lnTo>
                  <a:lnTo>
                    <a:pt x="2560" y="2038"/>
                  </a:lnTo>
                  <a:lnTo>
                    <a:pt x="2560" y="2036"/>
                  </a:lnTo>
                  <a:lnTo>
                    <a:pt x="2556" y="2034"/>
                  </a:lnTo>
                  <a:lnTo>
                    <a:pt x="2542" y="2028"/>
                  </a:lnTo>
                  <a:lnTo>
                    <a:pt x="2534" y="2024"/>
                  </a:lnTo>
                  <a:lnTo>
                    <a:pt x="2530" y="2018"/>
                  </a:lnTo>
                  <a:lnTo>
                    <a:pt x="2528" y="2014"/>
                  </a:lnTo>
                  <a:lnTo>
                    <a:pt x="2524" y="2006"/>
                  </a:lnTo>
                  <a:lnTo>
                    <a:pt x="2518" y="2002"/>
                  </a:lnTo>
                  <a:lnTo>
                    <a:pt x="2502" y="1992"/>
                  </a:lnTo>
                  <a:lnTo>
                    <a:pt x="2486" y="1984"/>
                  </a:lnTo>
                  <a:lnTo>
                    <a:pt x="2424" y="1968"/>
                  </a:lnTo>
                  <a:lnTo>
                    <a:pt x="2416" y="1968"/>
                  </a:lnTo>
                  <a:lnTo>
                    <a:pt x="2410" y="1972"/>
                  </a:lnTo>
                  <a:lnTo>
                    <a:pt x="2394" y="1982"/>
                  </a:lnTo>
                  <a:lnTo>
                    <a:pt x="2386" y="1986"/>
                  </a:lnTo>
                  <a:lnTo>
                    <a:pt x="2378" y="1986"/>
                  </a:lnTo>
                  <a:lnTo>
                    <a:pt x="2376" y="1986"/>
                  </a:lnTo>
                  <a:lnTo>
                    <a:pt x="2368" y="1986"/>
                  </a:lnTo>
                  <a:lnTo>
                    <a:pt x="2362" y="1982"/>
                  </a:lnTo>
                  <a:lnTo>
                    <a:pt x="2354" y="1972"/>
                  </a:lnTo>
                  <a:lnTo>
                    <a:pt x="2342" y="1962"/>
                  </a:lnTo>
                  <a:lnTo>
                    <a:pt x="2334" y="1954"/>
                  </a:lnTo>
                  <a:lnTo>
                    <a:pt x="2328" y="1950"/>
                  </a:lnTo>
                  <a:lnTo>
                    <a:pt x="2320" y="1948"/>
                  </a:lnTo>
                  <a:lnTo>
                    <a:pt x="2316" y="1948"/>
                  </a:lnTo>
                  <a:lnTo>
                    <a:pt x="2310" y="1950"/>
                  </a:lnTo>
                  <a:lnTo>
                    <a:pt x="2306" y="1954"/>
                  </a:lnTo>
                  <a:lnTo>
                    <a:pt x="2302" y="1960"/>
                  </a:lnTo>
                  <a:close/>
                  <a:moveTo>
                    <a:pt x="2606" y="2298"/>
                  </a:moveTo>
                  <a:lnTo>
                    <a:pt x="2606" y="2298"/>
                  </a:lnTo>
                  <a:lnTo>
                    <a:pt x="2602" y="2290"/>
                  </a:lnTo>
                  <a:lnTo>
                    <a:pt x="2598" y="2284"/>
                  </a:lnTo>
                  <a:lnTo>
                    <a:pt x="2594" y="2280"/>
                  </a:lnTo>
                  <a:lnTo>
                    <a:pt x="2590" y="2272"/>
                  </a:lnTo>
                  <a:lnTo>
                    <a:pt x="2586" y="2258"/>
                  </a:lnTo>
                  <a:lnTo>
                    <a:pt x="2582" y="2252"/>
                  </a:lnTo>
                  <a:lnTo>
                    <a:pt x="2576" y="2248"/>
                  </a:lnTo>
                  <a:lnTo>
                    <a:pt x="2562" y="2244"/>
                  </a:lnTo>
                  <a:lnTo>
                    <a:pt x="2548" y="2236"/>
                  </a:lnTo>
                  <a:lnTo>
                    <a:pt x="2532" y="2226"/>
                  </a:lnTo>
                  <a:lnTo>
                    <a:pt x="2526" y="2220"/>
                  </a:lnTo>
                  <a:lnTo>
                    <a:pt x="2522" y="2214"/>
                  </a:lnTo>
                  <a:lnTo>
                    <a:pt x="2516" y="2180"/>
                  </a:lnTo>
                  <a:lnTo>
                    <a:pt x="2514" y="2174"/>
                  </a:lnTo>
                  <a:lnTo>
                    <a:pt x="2510" y="2168"/>
                  </a:lnTo>
                  <a:lnTo>
                    <a:pt x="2500" y="2158"/>
                  </a:lnTo>
                  <a:lnTo>
                    <a:pt x="2496" y="2152"/>
                  </a:lnTo>
                  <a:lnTo>
                    <a:pt x="2492" y="2146"/>
                  </a:lnTo>
                  <a:lnTo>
                    <a:pt x="2488" y="2130"/>
                  </a:lnTo>
                  <a:lnTo>
                    <a:pt x="2486" y="2128"/>
                  </a:lnTo>
                  <a:lnTo>
                    <a:pt x="2484" y="2128"/>
                  </a:lnTo>
                  <a:lnTo>
                    <a:pt x="2482" y="2128"/>
                  </a:lnTo>
                  <a:lnTo>
                    <a:pt x="2480" y="2128"/>
                  </a:lnTo>
                  <a:lnTo>
                    <a:pt x="2472" y="2138"/>
                  </a:lnTo>
                  <a:lnTo>
                    <a:pt x="2468" y="2144"/>
                  </a:lnTo>
                  <a:lnTo>
                    <a:pt x="2466" y="2150"/>
                  </a:lnTo>
                  <a:lnTo>
                    <a:pt x="2466" y="2184"/>
                  </a:lnTo>
                  <a:lnTo>
                    <a:pt x="2464" y="2192"/>
                  </a:lnTo>
                  <a:lnTo>
                    <a:pt x="2460" y="2198"/>
                  </a:lnTo>
                  <a:lnTo>
                    <a:pt x="2452" y="2206"/>
                  </a:lnTo>
                  <a:lnTo>
                    <a:pt x="2446" y="2210"/>
                  </a:lnTo>
                  <a:lnTo>
                    <a:pt x="2438" y="2212"/>
                  </a:lnTo>
                  <a:lnTo>
                    <a:pt x="2434" y="2212"/>
                  </a:lnTo>
                  <a:lnTo>
                    <a:pt x="2428" y="2210"/>
                  </a:lnTo>
                  <a:lnTo>
                    <a:pt x="2422" y="2204"/>
                  </a:lnTo>
                  <a:lnTo>
                    <a:pt x="2412" y="2188"/>
                  </a:lnTo>
                  <a:lnTo>
                    <a:pt x="2406" y="2184"/>
                  </a:lnTo>
                  <a:lnTo>
                    <a:pt x="2398" y="2182"/>
                  </a:lnTo>
                  <a:lnTo>
                    <a:pt x="2396" y="2182"/>
                  </a:lnTo>
                  <a:lnTo>
                    <a:pt x="2388" y="2180"/>
                  </a:lnTo>
                  <a:lnTo>
                    <a:pt x="2380" y="2178"/>
                  </a:lnTo>
                  <a:lnTo>
                    <a:pt x="2374" y="2176"/>
                  </a:lnTo>
                  <a:lnTo>
                    <a:pt x="2372" y="2174"/>
                  </a:lnTo>
                  <a:lnTo>
                    <a:pt x="2370" y="2172"/>
                  </a:lnTo>
                  <a:lnTo>
                    <a:pt x="2370" y="2168"/>
                  </a:lnTo>
                  <a:lnTo>
                    <a:pt x="2372" y="2164"/>
                  </a:lnTo>
                  <a:lnTo>
                    <a:pt x="2374" y="2160"/>
                  </a:lnTo>
                  <a:lnTo>
                    <a:pt x="2382" y="2146"/>
                  </a:lnTo>
                  <a:lnTo>
                    <a:pt x="2384" y="2140"/>
                  </a:lnTo>
                  <a:lnTo>
                    <a:pt x="2384" y="2138"/>
                  </a:lnTo>
                  <a:lnTo>
                    <a:pt x="2384" y="2134"/>
                  </a:lnTo>
                  <a:lnTo>
                    <a:pt x="2382" y="2132"/>
                  </a:lnTo>
                  <a:lnTo>
                    <a:pt x="2380" y="2132"/>
                  </a:lnTo>
                  <a:lnTo>
                    <a:pt x="2356" y="2126"/>
                  </a:lnTo>
                  <a:lnTo>
                    <a:pt x="2340" y="2124"/>
                  </a:lnTo>
                  <a:lnTo>
                    <a:pt x="2336" y="2124"/>
                  </a:lnTo>
                  <a:lnTo>
                    <a:pt x="2330" y="2124"/>
                  </a:lnTo>
                  <a:lnTo>
                    <a:pt x="2324" y="2128"/>
                  </a:lnTo>
                  <a:lnTo>
                    <a:pt x="2312" y="2136"/>
                  </a:lnTo>
                  <a:lnTo>
                    <a:pt x="2306" y="2140"/>
                  </a:lnTo>
                  <a:lnTo>
                    <a:pt x="2292" y="2146"/>
                  </a:lnTo>
                  <a:lnTo>
                    <a:pt x="2286" y="2150"/>
                  </a:lnTo>
                  <a:lnTo>
                    <a:pt x="2280" y="2154"/>
                  </a:lnTo>
                  <a:lnTo>
                    <a:pt x="2276" y="2160"/>
                  </a:lnTo>
                  <a:lnTo>
                    <a:pt x="2274" y="2164"/>
                  </a:lnTo>
                  <a:lnTo>
                    <a:pt x="2270" y="2170"/>
                  </a:lnTo>
                  <a:lnTo>
                    <a:pt x="2264" y="2172"/>
                  </a:lnTo>
                  <a:lnTo>
                    <a:pt x="2252" y="2168"/>
                  </a:lnTo>
                  <a:lnTo>
                    <a:pt x="2248" y="2166"/>
                  </a:lnTo>
                  <a:lnTo>
                    <a:pt x="2240" y="2164"/>
                  </a:lnTo>
                  <a:lnTo>
                    <a:pt x="2234" y="2166"/>
                  </a:lnTo>
                  <a:lnTo>
                    <a:pt x="2228" y="2168"/>
                  </a:lnTo>
                  <a:lnTo>
                    <a:pt x="2214" y="2176"/>
                  </a:lnTo>
                  <a:lnTo>
                    <a:pt x="2198" y="2188"/>
                  </a:lnTo>
                  <a:lnTo>
                    <a:pt x="2184" y="2196"/>
                  </a:lnTo>
                  <a:lnTo>
                    <a:pt x="2178" y="2198"/>
                  </a:lnTo>
                  <a:lnTo>
                    <a:pt x="2164" y="2206"/>
                  </a:lnTo>
                  <a:lnTo>
                    <a:pt x="2160" y="2208"/>
                  </a:lnTo>
                  <a:lnTo>
                    <a:pt x="2154" y="2212"/>
                  </a:lnTo>
                  <a:lnTo>
                    <a:pt x="2150" y="2220"/>
                  </a:lnTo>
                  <a:lnTo>
                    <a:pt x="2144" y="2234"/>
                  </a:lnTo>
                  <a:lnTo>
                    <a:pt x="2140" y="2238"/>
                  </a:lnTo>
                  <a:lnTo>
                    <a:pt x="2134" y="2240"/>
                  </a:lnTo>
                  <a:lnTo>
                    <a:pt x="2130" y="2240"/>
                  </a:lnTo>
                  <a:lnTo>
                    <a:pt x="2124" y="2242"/>
                  </a:lnTo>
                  <a:lnTo>
                    <a:pt x="2116" y="2246"/>
                  </a:lnTo>
                  <a:lnTo>
                    <a:pt x="2100" y="2256"/>
                  </a:lnTo>
                  <a:lnTo>
                    <a:pt x="2086" y="2264"/>
                  </a:lnTo>
                  <a:lnTo>
                    <a:pt x="2062" y="2276"/>
                  </a:lnTo>
                  <a:lnTo>
                    <a:pt x="2048" y="2286"/>
                  </a:lnTo>
                  <a:lnTo>
                    <a:pt x="2040" y="2294"/>
                  </a:lnTo>
                  <a:lnTo>
                    <a:pt x="2030" y="2306"/>
                  </a:lnTo>
                  <a:lnTo>
                    <a:pt x="2028" y="2312"/>
                  </a:lnTo>
                  <a:lnTo>
                    <a:pt x="2026" y="2320"/>
                  </a:lnTo>
                  <a:lnTo>
                    <a:pt x="2028" y="2326"/>
                  </a:lnTo>
                  <a:lnTo>
                    <a:pt x="2032" y="2340"/>
                  </a:lnTo>
                  <a:lnTo>
                    <a:pt x="2034" y="2356"/>
                  </a:lnTo>
                  <a:lnTo>
                    <a:pt x="2034" y="2360"/>
                  </a:lnTo>
                  <a:lnTo>
                    <a:pt x="2036" y="2376"/>
                  </a:lnTo>
                  <a:lnTo>
                    <a:pt x="2052" y="2428"/>
                  </a:lnTo>
                  <a:lnTo>
                    <a:pt x="2054" y="2444"/>
                  </a:lnTo>
                  <a:lnTo>
                    <a:pt x="2054" y="2448"/>
                  </a:lnTo>
                  <a:lnTo>
                    <a:pt x="2054" y="2464"/>
                  </a:lnTo>
                  <a:lnTo>
                    <a:pt x="2054" y="2488"/>
                  </a:lnTo>
                  <a:lnTo>
                    <a:pt x="2056" y="2494"/>
                  </a:lnTo>
                  <a:lnTo>
                    <a:pt x="2060" y="2500"/>
                  </a:lnTo>
                  <a:lnTo>
                    <a:pt x="2068" y="2510"/>
                  </a:lnTo>
                  <a:lnTo>
                    <a:pt x="2074" y="2514"/>
                  </a:lnTo>
                  <a:lnTo>
                    <a:pt x="2082" y="2514"/>
                  </a:lnTo>
                  <a:lnTo>
                    <a:pt x="2086" y="2514"/>
                  </a:lnTo>
                  <a:lnTo>
                    <a:pt x="2100" y="2512"/>
                  </a:lnTo>
                  <a:lnTo>
                    <a:pt x="2116" y="2508"/>
                  </a:lnTo>
                  <a:lnTo>
                    <a:pt x="2130" y="2502"/>
                  </a:lnTo>
                  <a:lnTo>
                    <a:pt x="2136" y="2498"/>
                  </a:lnTo>
                  <a:lnTo>
                    <a:pt x="2142" y="2496"/>
                  </a:lnTo>
                  <a:lnTo>
                    <a:pt x="2150" y="2496"/>
                  </a:lnTo>
                  <a:lnTo>
                    <a:pt x="2154" y="2496"/>
                  </a:lnTo>
                  <a:lnTo>
                    <a:pt x="2170" y="2492"/>
                  </a:lnTo>
                  <a:lnTo>
                    <a:pt x="2184" y="2488"/>
                  </a:lnTo>
                  <a:lnTo>
                    <a:pt x="2190" y="2484"/>
                  </a:lnTo>
                  <a:lnTo>
                    <a:pt x="2192" y="2480"/>
                  </a:lnTo>
                  <a:lnTo>
                    <a:pt x="2194" y="2476"/>
                  </a:lnTo>
                  <a:lnTo>
                    <a:pt x="2198" y="2472"/>
                  </a:lnTo>
                  <a:lnTo>
                    <a:pt x="2232" y="2460"/>
                  </a:lnTo>
                  <a:lnTo>
                    <a:pt x="2240" y="2458"/>
                  </a:lnTo>
                  <a:lnTo>
                    <a:pt x="2248" y="2456"/>
                  </a:lnTo>
                  <a:lnTo>
                    <a:pt x="2272" y="2456"/>
                  </a:lnTo>
                  <a:lnTo>
                    <a:pt x="2288" y="2458"/>
                  </a:lnTo>
                  <a:lnTo>
                    <a:pt x="2330" y="2464"/>
                  </a:lnTo>
                  <a:lnTo>
                    <a:pt x="2338" y="2468"/>
                  </a:lnTo>
                  <a:lnTo>
                    <a:pt x="2344" y="2472"/>
                  </a:lnTo>
                  <a:lnTo>
                    <a:pt x="2362" y="2490"/>
                  </a:lnTo>
                  <a:lnTo>
                    <a:pt x="2374" y="2500"/>
                  </a:lnTo>
                  <a:lnTo>
                    <a:pt x="2382" y="2510"/>
                  </a:lnTo>
                  <a:lnTo>
                    <a:pt x="2388" y="2514"/>
                  </a:lnTo>
                  <a:lnTo>
                    <a:pt x="2396" y="2514"/>
                  </a:lnTo>
                  <a:lnTo>
                    <a:pt x="2398" y="2514"/>
                  </a:lnTo>
                  <a:lnTo>
                    <a:pt x="2406" y="2516"/>
                  </a:lnTo>
                  <a:lnTo>
                    <a:pt x="2410" y="2522"/>
                  </a:lnTo>
                  <a:lnTo>
                    <a:pt x="2414" y="2528"/>
                  </a:lnTo>
                  <a:lnTo>
                    <a:pt x="2422" y="2540"/>
                  </a:lnTo>
                  <a:lnTo>
                    <a:pt x="2430" y="2548"/>
                  </a:lnTo>
                  <a:lnTo>
                    <a:pt x="2442" y="2558"/>
                  </a:lnTo>
                  <a:lnTo>
                    <a:pt x="2458" y="2570"/>
                  </a:lnTo>
                  <a:lnTo>
                    <a:pt x="2474" y="2576"/>
                  </a:lnTo>
                  <a:lnTo>
                    <a:pt x="2488" y="2580"/>
                  </a:lnTo>
                  <a:lnTo>
                    <a:pt x="2494" y="2582"/>
                  </a:lnTo>
                  <a:lnTo>
                    <a:pt x="2502" y="2580"/>
                  </a:lnTo>
                  <a:lnTo>
                    <a:pt x="2508" y="2578"/>
                  </a:lnTo>
                  <a:lnTo>
                    <a:pt x="2514" y="2576"/>
                  </a:lnTo>
                  <a:lnTo>
                    <a:pt x="2520" y="2580"/>
                  </a:lnTo>
                  <a:lnTo>
                    <a:pt x="2528" y="2588"/>
                  </a:lnTo>
                  <a:lnTo>
                    <a:pt x="2534" y="2592"/>
                  </a:lnTo>
                  <a:lnTo>
                    <a:pt x="2538" y="2594"/>
                  </a:lnTo>
                  <a:lnTo>
                    <a:pt x="2544" y="2592"/>
                  </a:lnTo>
                  <a:lnTo>
                    <a:pt x="2550" y="2588"/>
                  </a:lnTo>
                  <a:lnTo>
                    <a:pt x="2558" y="2580"/>
                  </a:lnTo>
                  <a:lnTo>
                    <a:pt x="2570" y="2570"/>
                  </a:lnTo>
                  <a:lnTo>
                    <a:pt x="2576" y="2568"/>
                  </a:lnTo>
                  <a:lnTo>
                    <a:pt x="2588" y="2564"/>
                  </a:lnTo>
                  <a:lnTo>
                    <a:pt x="2592" y="2562"/>
                  </a:lnTo>
                  <a:lnTo>
                    <a:pt x="2592" y="2556"/>
                  </a:lnTo>
                  <a:lnTo>
                    <a:pt x="2592" y="2552"/>
                  </a:lnTo>
                  <a:lnTo>
                    <a:pt x="2594" y="2544"/>
                  </a:lnTo>
                  <a:lnTo>
                    <a:pt x="2596" y="2538"/>
                  </a:lnTo>
                  <a:lnTo>
                    <a:pt x="2608" y="2512"/>
                  </a:lnTo>
                  <a:lnTo>
                    <a:pt x="2616" y="2498"/>
                  </a:lnTo>
                  <a:lnTo>
                    <a:pt x="2638" y="2434"/>
                  </a:lnTo>
                  <a:lnTo>
                    <a:pt x="2642" y="2418"/>
                  </a:lnTo>
                  <a:lnTo>
                    <a:pt x="2642" y="2396"/>
                  </a:lnTo>
                  <a:lnTo>
                    <a:pt x="2642" y="2380"/>
                  </a:lnTo>
                  <a:lnTo>
                    <a:pt x="2642" y="2366"/>
                  </a:lnTo>
                  <a:lnTo>
                    <a:pt x="2642" y="2350"/>
                  </a:lnTo>
                  <a:lnTo>
                    <a:pt x="2642" y="2346"/>
                  </a:lnTo>
                  <a:lnTo>
                    <a:pt x="2640" y="2340"/>
                  </a:lnTo>
                  <a:lnTo>
                    <a:pt x="2636" y="2334"/>
                  </a:lnTo>
                  <a:lnTo>
                    <a:pt x="2620" y="2324"/>
                  </a:lnTo>
                  <a:lnTo>
                    <a:pt x="2614" y="2318"/>
                  </a:lnTo>
                  <a:lnTo>
                    <a:pt x="2610" y="2312"/>
                  </a:lnTo>
                  <a:lnTo>
                    <a:pt x="2606" y="2298"/>
                  </a:lnTo>
                  <a:close/>
                  <a:moveTo>
                    <a:pt x="2522" y="2632"/>
                  </a:moveTo>
                  <a:lnTo>
                    <a:pt x="2522" y="2632"/>
                  </a:lnTo>
                  <a:lnTo>
                    <a:pt x="2520" y="2634"/>
                  </a:lnTo>
                  <a:lnTo>
                    <a:pt x="2518" y="2634"/>
                  </a:lnTo>
                  <a:lnTo>
                    <a:pt x="2516" y="2638"/>
                  </a:lnTo>
                  <a:lnTo>
                    <a:pt x="2518" y="2640"/>
                  </a:lnTo>
                  <a:lnTo>
                    <a:pt x="2522" y="2654"/>
                  </a:lnTo>
                  <a:lnTo>
                    <a:pt x="2524" y="2670"/>
                  </a:lnTo>
                  <a:lnTo>
                    <a:pt x="2524" y="2674"/>
                  </a:lnTo>
                  <a:lnTo>
                    <a:pt x="2526" y="2680"/>
                  </a:lnTo>
                  <a:lnTo>
                    <a:pt x="2532" y="2684"/>
                  </a:lnTo>
                  <a:lnTo>
                    <a:pt x="2538" y="2688"/>
                  </a:lnTo>
                  <a:lnTo>
                    <a:pt x="2540" y="2688"/>
                  </a:lnTo>
                  <a:lnTo>
                    <a:pt x="2544" y="2688"/>
                  </a:lnTo>
                  <a:lnTo>
                    <a:pt x="2546" y="2686"/>
                  </a:lnTo>
                  <a:lnTo>
                    <a:pt x="2548" y="2684"/>
                  </a:lnTo>
                  <a:lnTo>
                    <a:pt x="2550" y="2678"/>
                  </a:lnTo>
                  <a:lnTo>
                    <a:pt x="2556" y="2664"/>
                  </a:lnTo>
                  <a:lnTo>
                    <a:pt x="2562" y="2650"/>
                  </a:lnTo>
                  <a:lnTo>
                    <a:pt x="2564" y="2634"/>
                  </a:lnTo>
                  <a:lnTo>
                    <a:pt x="2564" y="2632"/>
                  </a:lnTo>
                  <a:lnTo>
                    <a:pt x="2564" y="2628"/>
                  </a:lnTo>
                  <a:lnTo>
                    <a:pt x="2562" y="2626"/>
                  </a:lnTo>
                  <a:lnTo>
                    <a:pt x="2560" y="2626"/>
                  </a:lnTo>
                  <a:lnTo>
                    <a:pt x="2556" y="2626"/>
                  </a:lnTo>
                  <a:lnTo>
                    <a:pt x="2552" y="2630"/>
                  </a:lnTo>
                  <a:lnTo>
                    <a:pt x="2544" y="2632"/>
                  </a:lnTo>
                  <a:lnTo>
                    <a:pt x="2536" y="2632"/>
                  </a:lnTo>
                  <a:lnTo>
                    <a:pt x="2522" y="2632"/>
                  </a:lnTo>
                  <a:close/>
                  <a:moveTo>
                    <a:pt x="2478" y="958"/>
                  </a:moveTo>
                  <a:lnTo>
                    <a:pt x="2478" y="958"/>
                  </a:lnTo>
                  <a:lnTo>
                    <a:pt x="2476" y="954"/>
                  </a:lnTo>
                  <a:lnTo>
                    <a:pt x="2476" y="958"/>
                  </a:lnTo>
                  <a:lnTo>
                    <a:pt x="2476" y="962"/>
                  </a:lnTo>
                  <a:lnTo>
                    <a:pt x="2474" y="976"/>
                  </a:lnTo>
                  <a:lnTo>
                    <a:pt x="2468" y="992"/>
                  </a:lnTo>
                  <a:lnTo>
                    <a:pt x="2468" y="998"/>
                  </a:lnTo>
                  <a:lnTo>
                    <a:pt x="2470" y="1006"/>
                  </a:lnTo>
                  <a:lnTo>
                    <a:pt x="2472" y="1012"/>
                  </a:lnTo>
                  <a:lnTo>
                    <a:pt x="2474" y="1018"/>
                  </a:lnTo>
                  <a:lnTo>
                    <a:pt x="2476" y="1026"/>
                  </a:lnTo>
                  <a:lnTo>
                    <a:pt x="2476" y="1088"/>
                  </a:lnTo>
                  <a:lnTo>
                    <a:pt x="2476" y="1104"/>
                  </a:lnTo>
                  <a:lnTo>
                    <a:pt x="2476" y="1118"/>
                  </a:lnTo>
                  <a:lnTo>
                    <a:pt x="2478" y="1124"/>
                  </a:lnTo>
                  <a:lnTo>
                    <a:pt x="2484" y="1128"/>
                  </a:lnTo>
                  <a:lnTo>
                    <a:pt x="2498" y="1134"/>
                  </a:lnTo>
                  <a:lnTo>
                    <a:pt x="2502" y="1134"/>
                  </a:lnTo>
                  <a:lnTo>
                    <a:pt x="2500" y="1130"/>
                  </a:lnTo>
                  <a:lnTo>
                    <a:pt x="2490" y="1114"/>
                  </a:lnTo>
                  <a:lnTo>
                    <a:pt x="2486" y="1106"/>
                  </a:lnTo>
                  <a:lnTo>
                    <a:pt x="2486" y="1098"/>
                  </a:lnTo>
                  <a:lnTo>
                    <a:pt x="2486" y="1094"/>
                  </a:lnTo>
                  <a:lnTo>
                    <a:pt x="2486" y="1088"/>
                  </a:lnTo>
                  <a:lnTo>
                    <a:pt x="2488" y="1080"/>
                  </a:lnTo>
                  <a:lnTo>
                    <a:pt x="2492" y="1074"/>
                  </a:lnTo>
                  <a:lnTo>
                    <a:pt x="2496" y="1070"/>
                  </a:lnTo>
                  <a:lnTo>
                    <a:pt x="2498" y="1070"/>
                  </a:lnTo>
                  <a:lnTo>
                    <a:pt x="2500" y="1072"/>
                  </a:lnTo>
                  <a:lnTo>
                    <a:pt x="2502" y="1074"/>
                  </a:lnTo>
                  <a:lnTo>
                    <a:pt x="2502" y="1070"/>
                  </a:lnTo>
                  <a:lnTo>
                    <a:pt x="2488" y="1006"/>
                  </a:lnTo>
                  <a:lnTo>
                    <a:pt x="2486" y="990"/>
                  </a:lnTo>
                  <a:lnTo>
                    <a:pt x="2486" y="988"/>
                  </a:lnTo>
                  <a:lnTo>
                    <a:pt x="2482" y="972"/>
                  </a:lnTo>
                  <a:lnTo>
                    <a:pt x="2478" y="958"/>
                  </a:lnTo>
                  <a:close/>
                  <a:moveTo>
                    <a:pt x="2460" y="1170"/>
                  </a:moveTo>
                  <a:lnTo>
                    <a:pt x="2460" y="1170"/>
                  </a:lnTo>
                  <a:lnTo>
                    <a:pt x="2458" y="1176"/>
                  </a:lnTo>
                  <a:lnTo>
                    <a:pt x="2456" y="1182"/>
                  </a:lnTo>
                  <a:lnTo>
                    <a:pt x="2456" y="1196"/>
                  </a:lnTo>
                  <a:lnTo>
                    <a:pt x="2454" y="1204"/>
                  </a:lnTo>
                  <a:lnTo>
                    <a:pt x="2452" y="1212"/>
                  </a:lnTo>
                  <a:lnTo>
                    <a:pt x="2450" y="1216"/>
                  </a:lnTo>
                  <a:lnTo>
                    <a:pt x="2446" y="1224"/>
                  </a:lnTo>
                  <a:lnTo>
                    <a:pt x="2446" y="1232"/>
                  </a:lnTo>
                  <a:lnTo>
                    <a:pt x="2446" y="1236"/>
                  </a:lnTo>
                  <a:lnTo>
                    <a:pt x="2448" y="1238"/>
                  </a:lnTo>
                  <a:lnTo>
                    <a:pt x="2450" y="1236"/>
                  </a:lnTo>
                  <a:lnTo>
                    <a:pt x="2460" y="1220"/>
                  </a:lnTo>
                  <a:lnTo>
                    <a:pt x="2464" y="1218"/>
                  </a:lnTo>
                  <a:lnTo>
                    <a:pt x="2466" y="1218"/>
                  </a:lnTo>
                  <a:lnTo>
                    <a:pt x="2468" y="1218"/>
                  </a:lnTo>
                  <a:lnTo>
                    <a:pt x="2472" y="1220"/>
                  </a:lnTo>
                  <a:lnTo>
                    <a:pt x="2480" y="1228"/>
                  </a:lnTo>
                  <a:lnTo>
                    <a:pt x="2482" y="1230"/>
                  </a:lnTo>
                  <a:lnTo>
                    <a:pt x="2484" y="1230"/>
                  </a:lnTo>
                  <a:lnTo>
                    <a:pt x="2486" y="1228"/>
                  </a:lnTo>
                  <a:lnTo>
                    <a:pt x="2488" y="1226"/>
                  </a:lnTo>
                  <a:lnTo>
                    <a:pt x="2492" y="1220"/>
                  </a:lnTo>
                  <a:lnTo>
                    <a:pt x="2496" y="1214"/>
                  </a:lnTo>
                  <a:lnTo>
                    <a:pt x="2502" y="1210"/>
                  </a:lnTo>
                  <a:lnTo>
                    <a:pt x="2508" y="1208"/>
                  </a:lnTo>
                  <a:lnTo>
                    <a:pt x="2520" y="1198"/>
                  </a:lnTo>
                  <a:lnTo>
                    <a:pt x="2528" y="1190"/>
                  </a:lnTo>
                  <a:lnTo>
                    <a:pt x="2530" y="1188"/>
                  </a:lnTo>
                  <a:lnTo>
                    <a:pt x="2530" y="1186"/>
                  </a:lnTo>
                  <a:lnTo>
                    <a:pt x="2528" y="1184"/>
                  </a:lnTo>
                  <a:lnTo>
                    <a:pt x="2526" y="1184"/>
                  </a:lnTo>
                  <a:lnTo>
                    <a:pt x="2522" y="1184"/>
                  </a:lnTo>
                  <a:lnTo>
                    <a:pt x="2506" y="1182"/>
                  </a:lnTo>
                  <a:lnTo>
                    <a:pt x="2492" y="1178"/>
                  </a:lnTo>
                  <a:lnTo>
                    <a:pt x="2478" y="1170"/>
                  </a:lnTo>
                  <a:lnTo>
                    <a:pt x="2472" y="1168"/>
                  </a:lnTo>
                  <a:lnTo>
                    <a:pt x="2466" y="1168"/>
                  </a:lnTo>
                  <a:lnTo>
                    <a:pt x="2460" y="1170"/>
                  </a:lnTo>
                  <a:close/>
                  <a:moveTo>
                    <a:pt x="2438" y="1284"/>
                  </a:moveTo>
                  <a:lnTo>
                    <a:pt x="2438" y="1284"/>
                  </a:lnTo>
                  <a:lnTo>
                    <a:pt x="2432" y="1300"/>
                  </a:lnTo>
                  <a:lnTo>
                    <a:pt x="2430" y="1304"/>
                  </a:lnTo>
                  <a:lnTo>
                    <a:pt x="2426" y="1310"/>
                  </a:lnTo>
                  <a:lnTo>
                    <a:pt x="2420" y="1316"/>
                  </a:lnTo>
                  <a:lnTo>
                    <a:pt x="2414" y="1318"/>
                  </a:lnTo>
                  <a:lnTo>
                    <a:pt x="2400" y="1326"/>
                  </a:lnTo>
                  <a:lnTo>
                    <a:pt x="2374" y="1346"/>
                  </a:lnTo>
                  <a:lnTo>
                    <a:pt x="2368" y="1350"/>
                  </a:lnTo>
                  <a:lnTo>
                    <a:pt x="2360" y="1350"/>
                  </a:lnTo>
                  <a:lnTo>
                    <a:pt x="2356" y="1350"/>
                  </a:lnTo>
                  <a:lnTo>
                    <a:pt x="2340" y="1354"/>
                  </a:lnTo>
                  <a:lnTo>
                    <a:pt x="2326" y="1358"/>
                  </a:lnTo>
                  <a:lnTo>
                    <a:pt x="2320" y="1362"/>
                  </a:lnTo>
                  <a:lnTo>
                    <a:pt x="2318" y="1366"/>
                  </a:lnTo>
                  <a:lnTo>
                    <a:pt x="2322" y="1378"/>
                  </a:lnTo>
                  <a:lnTo>
                    <a:pt x="2326" y="1392"/>
                  </a:lnTo>
                  <a:lnTo>
                    <a:pt x="2328" y="1394"/>
                  </a:lnTo>
                  <a:lnTo>
                    <a:pt x="2330" y="1396"/>
                  </a:lnTo>
                  <a:lnTo>
                    <a:pt x="2332" y="1396"/>
                  </a:lnTo>
                  <a:lnTo>
                    <a:pt x="2334" y="1394"/>
                  </a:lnTo>
                  <a:lnTo>
                    <a:pt x="2342" y="1386"/>
                  </a:lnTo>
                  <a:lnTo>
                    <a:pt x="2348" y="1382"/>
                  </a:lnTo>
                  <a:lnTo>
                    <a:pt x="2354" y="1380"/>
                  </a:lnTo>
                  <a:lnTo>
                    <a:pt x="2358" y="1378"/>
                  </a:lnTo>
                  <a:lnTo>
                    <a:pt x="2362" y="1376"/>
                  </a:lnTo>
                  <a:lnTo>
                    <a:pt x="2366" y="1374"/>
                  </a:lnTo>
                  <a:lnTo>
                    <a:pt x="2368" y="1376"/>
                  </a:lnTo>
                  <a:lnTo>
                    <a:pt x="2370" y="1376"/>
                  </a:lnTo>
                  <a:lnTo>
                    <a:pt x="2374" y="1374"/>
                  </a:lnTo>
                  <a:lnTo>
                    <a:pt x="2382" y="1366"/>
                  </a:lnTo>
                  <a:lnTo>
                    <a:pt x="2388" y="1362"/>
                  </a:lnTo>
                  <a:lnTo>
                    <a:pt x="2392" y="1360"/>
                  </a:lnTo>
                  <a:lnTo>
                    <a:pt x="2404" y="1360"/>
                  </a:lnTo>
                  <a:lnTo>
                    <a:pt x="2408" y="1360"/>
                  </a:lnTo>
                  <a:lnTo>
                    <a:pt x="2422" y="1360"/>
                  </a:lnTo>
                  <a:lnTo>
                    <a:pt x="2432" y="1360"/>
                  </a:lnTo>
                  <a:lnTo>
                    <a:pt x="2436" y="1360"/>
                  </a:lnTo>
                  <a:lnTo>
                    <a:pt x="2440" y="1356"/>
                  </a:lnTo>
                  <a:lnTo>
                    <a:pt x="2444" y="1350"/>
                  </a:lnTo>
                  <a:lnTo>
                    <a:pt x="2446" y="1342"/>
                  </a:lnTo>
                  <a:lnTo>
                    <a:pt x="2446" y="1330"/>
                  </a:lnTo>
                  <a:lnTo>
                    <a:pt x="2446" y="1322"/>
                  </a:lnTo>
                  <a:lnTo>
                    <a:pt x="2450" y="1314"/>
                  </a:lnTo>
                  <a:lnTo>
                    <a:pt x="2452" y="1308"/>
                  </a:lnTo>
                  <a:lnTo>
                    <a:pt x="2458" y="1294"/>
                  </a:lnTo>
                  <a:lnTo>
                    <a:pt x="2462" y="1280"/>
                  </a:lnTo>
                  <a:lnTo>
                    <a:pt x="2464" y="1272"/>
                  </a:lnTo>
                  <a:lnTo>
                    <a:pt x="2460" y="1266"/>
                  </a:lnTo>
                  <a:lnTo>
                    <a:pt x="2450" y="1250"/>
                  </a:lnTo>
                  <a:lnTo>
                    <a:pt x="2448" y="1246"/>
                  </a:lnTo>
                  <a:lnTo>
                    <a:pt x="2446" y="1246"/>
                  </a:lnTo>
                  <a:lnTo>
                    <a:pt x="2446" y="1248"/>
                  </a:lnTo>
                  <a:lnTo>
                    <a:pt x="2444" y="1260"/>
                  </a:lnTo>
                  <a:lnTo>
                    <a:pt x="2438" y="128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prstClr val="black"/>
                </a:solidFill>
              </a:endParaRPr>
            </a:p>
          </p:txBody>
        </p:sp>
        <p:sp>
          <p:nvSpPr>
            <p:cNvPr id="10245" name="Freeform 7"/>
            <p:cNvSpPr>
              <a:spLocks noEditPoints="1"/>
            </p:cNvSpPr>
            <p:nvPr/>
          </p:nvSpPr>
          <p:spPr bwMode="auto">
            <a:xfrm>
              <a:off x="0" y="753"/>
              <a:ext cx="2211" cy="3018"/>
            </a:xfrm>
            <a:custGeom>
              <a:avLst/>
              <a:gdLst>
                <a:gd name="T0" fmla="*/ 1757 w 2211"/>
                <a:gd name="T1" fmla="*/ 431 h 3018"/>
                <a:gd name="T2" fmla="*/ 1780 w 2211"/>
                <a:gd name="T3" fmla="*/ 502 h 3018"/>
                <a:gd name="T4" fmla="*/ 1792 w 2211"/>
                <a:gd name="T5" fmla="*/ 608 h 3018"/>
                <a:gd name="T6" fmla="*/ 1954 w 2211"/>
                <a:gd name="T7" fmla="*/ 711 h 3018"/>
                <a:gd name="T8" fmla="*/ 2035 w 2211"/>
                <a:gd name="T9" fmla="*/ 540 h 3018"/>
                <a:gd name="T10" fmla="*/ 2203 w 2211"/>
                <a:gd name="T11" fmla="*/ 366 h 3018"/>
                <a:gd name="T12" fmla="*/ 2188 w 2211"/>
                <a:gd name="T13" fmla="*/ 325 h 3018"/>
                <a:gd name="T14" fmla="*/ 2153 w 2211"/>
                <a:gd name="T15" fmla="*/ 272 h 3018"/>
                <a:gd name="T16" fmla="*/ 2085 w 2211"/>
                <a:gd name="T17" fmla="*/ 202 h 3018"/>
                <a:gd name="T18" fmla="*/ 2002 w 2211"/>
                <a:gd name="T19" fmla="*/ 129 h 3018"/>
                <a:gd name="T20" fmla="*/ 1934 w 2211"/>
                <a:gd name="T21" fmla="*/ 108 h 3018"/>
                <a:gd name="T22" fmla="*/ 1737 w 2211"/>
                <a:gd name="T23" fmla="*/ 207 h 3018"/>
                <a:gd name="T24" fmla="*/ 1288 w 2211"/>
                <a:gd name="T25" fmla="*/ 159 h 3018"/>
                <a:gd name="T26" fmla="*/ 1303 w 2211"/>
                <a:gd name="T27" fmla="*/ 194 h 3018"/>
                <a:gd name="T28" fmla="*/ 1356 w 2211"/>
                <a:gd name="T29" fmla="*/ 207 h 3018"/>
                <a:gd name="T30" fmla="*/ 1364 w 2211"/>
                <a:gd name="T31" fmla="*/ 156 h 3018"/>
                <a:gd name="T32" fmla="*/ 1374 w 2211"/>
                <a:gd name="T33" fmla="*/ 66 h 3018"/>
                <a:gd name="T34" fmla="*/ 1361 w 2211"/>
                <a:gd name="T35" fmla="*/ 3 h 3018"/>
                <a:gd name="T36" fmla="*/ 1319 w 2211"/>
                <a:gd name="T37" fmla="*/ 13 h 3018"/>
                <a:gd name="T38" fmla="*/ 1266 w 2211"/>
                <a:gd name="T39" fmla="*/ 58 h 3018"/>
                <a:gd name="T40" fmla="*/ 1248 w 2211"/>
                <a:gd name="T41" fmla="*/ 81 h 3018"/>
                <a:gd name="T42" fmla="*/ 1253 w 2211"/>
                <a:gd name="T43" fmla="*/ 144 h 3018"/>
                <a:gd name="T44" fmla="*/ 1268 w 2211"/>
                <a:gd name="T45" fmla="*/ 227 h 3018"/>
                <a:gd name="T46" fmla="*/ 1379 w 2211"/>
                <a:gd name="T47" fmla="*/ 252 h 3018"/>
                <a:gd name="T48" fmla="*/ 1271 w 2211"/>
                <a:gd name="T49" fmla="*/ 217 h 3018"/>
                <a:gd name="T50" fmla="*/ 1172 w 2211"/>
                <a:gd name="T51" fmla="*/ 1629 h 3018"/>
                <a:gd name="T52" fmla="*/ 1677 w 2211"/>
                <a:gd name="T53" fmla="*/ 1170 h 3018"/>
                <a:gd name="T54" fmla="*/ 1500 w 2211"/>
                <a:gd name="T55" fmla="*/ 703 h 3018"/>
                <a:gd name="T56" fmla="*/ 1437 w 2211"/>
                <a:gd name="T57" fmla="*/ 376 h 3018"/>
                <a:gd name="T58" fmla="*/ 1520 w 2211"/>
                <a:gd name="T59" fmla="*/ 509 h 3018"/>
                <a:gd name="T60" fmla="*/ 1606 w 2211"/>
                <a:gd name="T61" fmla="*/ 540 h 3018"/>
                <a:gd name="T62" fmla="*/ 1674 w 2211"/>
                <a:gd name="T63" fmla="*/ 527 h 3018"/>
                <a:gd name="T64" fmla="*/ 1694 w 2211"/>
                <a:gd name="T65" fmla="*/ 502 h 3018"/>
                <a:gd name="T66" fmla="*/ 1659 w 2211"/>
                <a:gd name="T67" fmla="*/ 446 h 3018"/>
                <a:gd name="T68" fmla="*/ 1634 w 2211"/>
                <a:gd name="T69" fmla="*/ 388 h 3018"/>
                <a:gd name="T70" fmla="*/ 1553 w 2211"/>
                <a:gd name="T71" fmla="*/ 345 h 3018"/>
                <a:gd name="T72" fmla="*/ 1442 w 2211"/>
                <a:gd name="T73" fmla="*/ 300 h 3018"/>
                <a:gd name="T74" fmla="*/ 1341 w 2211"/>
                <a:gd name="T75" fmla="*/ 330 h 3018"/>
                <a:gd name="T76" fmla="*/ 1319 w 2211"/>
                <a:gd name="T77" fmla="*/ 386 h 3018"/>
                <a:gd name="T78" fmla="*/ 1182 w 2211"/>
                <a:gd name="T79" fmla="*/ 424 h 3018"/>
                <a:gd name="T80" fmla="*/ 1172 w 2211"/>
                <a:gd name="T81" fmla="*/ 308 h 3018"/>
                <a:gd name="T82" fmla="*/ 1112 w 2211"/>
                <a:gd name="T83" fmla="*/ 315 h 3018"/>
                <a:gd name="T84" fmla="*/ 1024 w 2211"/>
                <a:gd name="T85" fmla="*/ 333 h 3018"/>
                <a:gd name="T86" fmla="*/ 1034 w 2211"/>
                <a:gd name="T87" fmla="*/ 383 h 3018"/>
                <a:gd name="T88" fmla="*/ 1129 w 2211"/>
                <a:gd name="T89" fmla="*/ 429 h 3018"/>
                <a:gd name="T90" fmla="*/ 451 w 2211"/>
                <a:gd name="T91" fmla="*/ 378 h 3018"/>
                <a:gd name="T92" fmla="*/ 156 w 2211"/>
                <a:gd name="T93" fmla="*/ 840 h 3018"/>
                <a:gd name="T94" fmla="*/ 837 w 2211"/>
                <a:gd name="T95" fmla="*/ 1417 h 3018"/>
                <a:gd name="T96" fmla="*/ 1256 w 2211"/>
                <a:gd name="T97" fmla="*/ 1755 h 3018"/>
                <a:gd name="T98" fmla="*/ 1629 w 2211"/>
                <a:gd name="T99" fmla="*/ 1679 h 3018"/>
                <a:gd name="T100" fmla="*/ 1553 w 2211"/>
                <a:gd name="T101" fmla="*/ 1654 h 3018"/>
                <a:gd name="T102" fmla="*/ 1414 w 2211"/>
                <a:gd name="T103" fmla="*/ 1851 h 3018"/>
                <a:gd name="T104" fmla="*/ 1891 w 2211"/>
                <a:gd name="T105" fmla="*/ 1893 h 3018"/>
                <a:gd name="T106" fmla="*/ 1591 w 2211"/>
                <a:gd name="T107" fmla="*/ 1795 h 3018"/>
                <a:gd name="T108" fmla="*/ 1435 w 2211"/>
                <a:gd name="T109" fmla="*/ 2057 h 3018"/>
                <a:gd name="T110" fmla="*/ 1629 w 2211"/>
                <a:gd name="T111" fmla="*/ 2524 h 3018"/>
                <a:gd name="T112" fmla="*/ 1740 w 2211"/>
                <a:gd name="T113" fmla="*/ 2741 h 3018"/>
                <a:gd name="T114" fmla="*/ 2110 w 2211"/>
                <a:gd name="T115" fmla="*/ 2342 h 3018"/>
                <a:gd name="T116" fmla="*/ 1472 w 2211"/>
                <a:gd name="T117" fmla="*/ 562 h 3018"/>
                <a:gd name="T118" fmla="*/ 1394 w 2211"/>
                <a:gd name="T119" fmla="*/ 577 h 3018"/>
                <a:gd name="T120" fmla="*/ 978 w 2211"/>
                <a:gd name="T121" fmla="*/ 338 h 3018"/>
                <a:gd name="T122" fmla="*/ 1039 w 2211"/>
                <a:gd name="T123" fmla="*/ 250 h 30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211" h="3018">
                  <a:moveTo>
                    <a:pt x="1636" y="295"/>
                  </a:moveTo>
                  <a:lnTo>
                    <a:pt x="1639" y="300"/>
                  </a:lnTo>
                  <a:lnTo>
                    <a:pt x="1639" y="303"/>
                  </a:lnTo>
                  <a:lnTo>
                    <a:pt x="1639" y="308"/>
                  </a:lnTo>
                  <a:lnTo>
                    <a:pt x="1636" y="310"/>
                  </a:lnTo>
                  <a:lnTo>
                    <a:pt x="1636" y="313"/>
                  </a:lnTo>
                  <a:lnTo>
                    <a:pt x="1634" y="315"/>
                  </a:lnTo>
                  <a:lnTo>
                    <a:pt x="1636" y="320"/>
                  </a:lnTo>
                  <a:lnTo>
                    <a:pt x="1636" y="323"/>
                  </a:lnTo>
                  <a:lnTo>
                    <a:pt x="1641" y="328"/>
                  </a:lnTo>
                  <a:lnTo>
                    <a:pt x="1644" y="333"/>
                  </a:lnTo>
                  <a:lnTo>
                    <a:pt x="1649" y="335"/>
                  </a:lnTo>
                  <a:lnTo>
                    <a:pt x="1651" y="338"/>
                  </a:lnTo>
                  <a:lnTo>
                    <a:pt x="1656" y="340"/>
                  </a:lnTo>
                  <a:lnTo>
                    <a:pt x="1664" y="340"/>
                  </a:lnTo>
                  <a:lnTo>
                    <a:pt x="1669" y="340"/>
                  </a:lnTo>
                  <a:lnTo>
                    <a:pt x="1679" y="340"/>
                  </a:lnTo>
                  <a:lnTo>
                    <a:pt x="1687" y="338"/>
                  </a:lnTo>
                  <a:lnTo>
                    <a:pt x="1697" y="338"/>
                  </a:lnTo>
                  <a:lnTo>
                    <a:pt x="1704" y="338"/>
                  </a:lnTo>
                  <a:lnTo>
                    <a:pt x="1712" y="338"/>
                  </a:lnTo>
                  <a:lnTo>
                    <a:pt x="1719" y="340"/>
                  </a:lnTo>
                  <a:lnTo>
                    <a:pt x="1724" y="343"/>
                  </a:lnTo>
                  <a:lnTo>
                    <a:pt x="1729" y="348"/>
                  </a:lnTo>
                  <a:lnTo>
                    <a:pt x="1732" y="356"/>
                  </a:lnTo>
                  <a:lnTo>
                    <a:pt x="1737" y="363"/>
                  </a:lnTo>
                  <a:lnTo>
                    <a:pt x="1740" y="368"/>
                  </a:lnTo>
                  <a:lnTo>
                    <a:pt x="1745" y="373"/>
                  </a:lnTo>
                  <a:lnTo>
                    <a:pt x="1750" y="378"/>
                  </a:lnTo>
                  <a:lnTo>
                    <a:pt x="1752" y="386"/>
                  </a:lnTo>
                  <a:lnTo>
                    <a:pt x="1757" y="391"/>
                  </a:lnTo>
                  <a:lnTo>
                    <a:pt x="1760" y="401"/>
                  </a:lnTo>
                  <a:lnTo>
                    <a:pt x="1760" y="411"/>
                  </a:lnTo>
                  <a:lnTo>
                    <a:pt x="1760" y="424"/>
                  </a:lnTo>
                  <a:lnTo>
                    <a:pt x="1757" y="431"/>
                  </a:lnTo>
                  <a:lnTo>
                    <a:pt x="1757" y="439"/>
                  </a:lnTo>
                  <a:lnTo>
                    <a:pt x="1757" y="444"/>
                  </a:lnTo>
                  <a:lnTo>
                    <a:pt x="1757" y="449"/>
                  </a:lnTo>
                  <a:lnTo>
                    <a:pt x="1757" y="451"/>
                  </a:lnTo>
                  <a:lnTo>
                    <a:pt x="1760" y="451"/>
                  </a:lnTo>
                  <a:lnTo>
                    <a:pt x="1765" y="454"/>
                  </a:lnTo>
                  <a:lnTo>
                    <a:pt x="1770" y="454"/>
                  </a:lnTo>
                  <a:lnTo>
                    <a:pt x="1775" y="454"/>
                  </a:lnTo>
                  <a:lnTo>
                    <a:pt x="1777" y="456"/>
                  </a:lnTo>
                  <a:lnTo>
                    <a:pt x="1782" y="456"/>
                  </a:lnTo>
                  <a:lnTo>
                    <a:pt x="1782" y="459"/>
                  </a:lnTo>
                  <a:lnTo>
                    <a:pt x="1782" y="461"/>
                  </a:lnTo>
                  <a:lnTo>
                    <a:pt x="1780" y="464"/>
                  </a:lnTo>
                  <a:lnTo>
                    <a:pt x="1772" y="464"/>
                  </a:lnTo>
                  <a:lnTo>
                    <a:pt x="1767" y="466"/>
                  </a:lnTo>
                  <a:lnTo>
                    <a:pt x="1765" y="469"/>
                  </a:lnTo>
                  <a:lnTo>
                    <a:pt x="1765" y="471"/>
                  </a:lnTo>
                  <a:lnTo>
                    <a:pt x="1767" y="471"/>
                  </a:lnTo>
                  <a:lnTo>
                    <a:pt x="1770" y="474"/>
                  </a:lnTo>
                  <a:lnTo>
                    <a:pt x="1775" y="477"/>
                  </a:lnTo>
                  <a:lnTo>
                    <a:pt x="1777" y="477"/>
                  </a:lnTo>
                  <a:lnTo>
                    <a:pt x="1775" y="477"/>
                  </a:lnTo>
                  <a:lnTo>
                    <a:pt x="1770" y="477"/>
                  </a:lnTo>
                  <a:lnTo>
                    <a:pt x="1765" y="479"/>
                  </a:lnTo>
                  <a:lnTo>
                    <a:pt x="1762" y="482"/>
                  </a:lnTo>
                  <a:lnTo>
                    <a:pt x="1757" y="484"/>
                  </a:lnTo>
                  <a:lnTo>
                    <a:pt x="1755" y="487"/>
                  </a:lnTo>
                  <a:lnTo>
                    <a:pt x="1755" y="489"/>
                  </a:lnTo>
                  <a:lnTo>
                    <a:pt x="1757" y="494"/>
                  </a:lnTo>
                  <a:lnTo>
                    <a:pt x="1762" y="497"/>
                  </a:lnTo>
                  <a:lnTo>
                    <a:pt x="1767" y="499"/>
                  </a:lnTo>
                  <a:lnTo>
                    <a:pt x="1772" y="502"/>
                  </a:lnTo>
                  <a:lnTo>
                    <a:pt x="1780" y="502"/>
                  </a:lnTo>
                  <a:lnTo>
                    <a:pt x="1785" y="502"/>
                  </a:lnTo>
                  <a:lnTo>
                    <a:pt x="1790" y="499"/>
                  </a:lnTo>
                  <a:lnTo>
                    <a:pt x="1792" y="497"/>
                  </a:lnTo>
                  <a:lnTo>
                    <a:pt x="1795" y="494"/>
                  </a:lnTo>
                  <a:lnTo>
                    <a:pt x="1798" y="492"/>
                  </a:lnTo>
                  <a:lnTo>
                    <a:pt x="1800" y="489"/>
                  </a:lnTo>
                  <a:lnTo>
                    <a:pt x="1800" y="487"/>
                  </a:lnTo>
                  <a:lnTo>
                    <a:pt x="1803" y="484"/>
                  </a:lnTo>
                  <a:lnTo>
                    <a:pt x="1805" y="484"/>
                  </a:lnTo>
                  <a:lnTo>
                    <a:pt x="1808" y="484"/>
                  </a:lnTo>
                  <a:lnTo>
                    <a:pt x="1810" y="482"/>
                  </a:lnTo>
                  <a:lnTo>
                    <a:pt x="1815" y="487"/>
                  </a:lnTo>
                  <a:lnTo>
                    <a:pt x="1815" y="494"/>
                  </a:lnTo>
                  <a:lnTo>
                    <a:pt x="1815" y="504"/>
                  </a:lnTo>
                  <a:lnTo>
                    <a:pt x="1813" y="512"/>
                  </a:lnTo>
                  <a:lnTo>
                    <a:pt x="1810" y="514"/>
                  </a:lnTo>
                  <a:lnTo>
                    <a:pt x="1805" y="514"/>
                  </a:lnTo>
                  <a:lnTo>
                    <a:pt x="1803" y="517"/>
                  </a:lnTo>
                  <a:lnTo>
                    <a:pt x="1798" y="519"/>
                  </a:lnTo>
                  <a:lnTo>
                    <a:pt x="1792" y="522"/>
                  </a:lnTo>
                  <a:lnTo>
                    <a:pt x="1787" y="527"/>
                  </a:lnTo>
                  <a:lnTo>
                    <a:pt x="1785" y="529"/>
                  </a:lnTo>
                  <a:lnTo>
                    <a:pt x="1780" y="532"/>
                  </a:lnTo>
                  <a:lnTo>
                    <a:pt x="1777" y="537"/>
                  </a:lnTo>
                  <a:lnTo>
                    <a:pt x="1777" y="545"/>
                  </a:lnTo>
                  <a:lnTo>
                    <a:pt x="1775" y="555"/>
                  </a:lnTo>
                  <a:lnTo>
                    <a:pt x="1772" y="565"/>
                  </a:lnTo>
                  <a:lnTo>
                    <a:pt x="1772" y="572"/>
                  </a:lnTo>
                  <a:lnTo>
                    <a:pt x="1772" y="582"/>
                  </a:lnTo>
                  <a:lnTo>
                    <a:pt x="1775" y="587"/>
                  </a:lnTo>
                  <a:lnTo>
                    <a:pt x="1775" y="593"/>
                  </a:lnTo>
                  <a:lnTo>
                    <a:pt x="1777" y="598"/>
                  </a:lnTo>
                  <a:lnTo>
                    <a:pt x="1782" y="600"/>
                  </a:lnTo>
                  <a:lnTo>
                    <a:pt x="1787" y="605"/>
                  </a:lnTo>
                  <a:lnTo>
                    <a:pt x="1792" y="608"/>
                  </a:lnTo>
                  <a:lnTo>
                    <a:pt x="1795" y="613"/>
                  </a:lnTo>
                  <a:lnTo>
                    <a:pt x="1800" y="618"/>
                  </a:lnTo>
                  <a:lnTo>
                    <a:pt x="1803" y="625"/>
                  </a:lnTo>
                  <a:lnTo>
                    <a:pt x="1803" y="630"/>
                  </a:lnTo>
                  <a:lnTo>
                    <a:pt x="1803" y="638"/>
                  </a:lnTo>
                  <a:lnTo>
                    <a:pt x="1805" y="643"/>
                  </a:lnTo>
                  <a:lnTo>
                    <a:pt x="1810" y="648"/>
                  </a:lnTo>
                  <a:lnTo>
                    <a:pt x="1815" y="653"/>
                  </a:lnTo>
                  <a:lnTo>
                    <a:pt x="1820" y="658"/>
                  </a:lnTo>
                  <a:lnTo>
                    <a:pt x="1825" y="661"/>
                  </a:lnTo>
                  <a:lnTo>
                    <a:pt x="1833" y="666"/>
                  </a:lnTo>
                  <a:lnTo>
                    <a:pt x="1838" y="671"/>
                  </a:lnTo>
                  <a:lnTo>
                    <a:pt x="1843" y="673"/>
                  </a:lnTo>
                  <a:lnTo>
                    <a:pt x="1848" y="678"/>
                  </a:lnTo>
                  <a:lnTo>
                    <a:pt x="1856" y="683"/>
                  </a:lnTo>
                  <a:lnTo>
                    <a:pt x="1863" y="691"/>
                  </a:lnTo>
                  <a:lnTo>
                    <a:pt x="1871" y="693"/>
                  </a:lnTo>
                  <a:lnTo>
                    <a:pt x="1881" y="698"/>
                  </a:lnTo>
                  <a:lnTo>
                    <a:pt x="1888" y="698"/>
                  </a:lnTo>
                  <a:lnTo>
                    <a:pt x="1896" y="698"/>
                  </a:lnTo>
                  <a:lnTo>
                    <a:pt x="1903" y="696"/>
                  </a:lnTo>
                  <a:lnTo>
                    <a:pt x="1908" y="696"/>
                  </a:lnTo>
                  <a:lnTo>
                    <a:pt x="1914" y="696"/>
                  </a:lnTo>
                  <a:lnTo>
                    <a:pt x="1919" y="696"/>
                  </a:lnTo>
                  <a:lnTo>
                    <a:pt x="1924" y="698"/>
                  </a:lnTo>
                  <a:lnTo>
                    <a:pt x="1926" y="701"/>
                  </a:lnTo>
                  <a:lnTo>
                    <a:pt x="1929" y="703"/>
                  </a:lnTo>
                  <a:lnTo>
                    <a:pt x="1931" y="706"/>
                  </a:lnTo>
                  <a:lnTo>
                    <a:pt x="1931" y="708"/>
                  </a:lnTo>
                  <a:lnTo>
                    <a:pt x="1934" y="708"/>
                  </a:lnTo>
                  <a:lnTo>
                    <a:pt x="1936" y="711"/>
                  </a:lnTo>
                  <a:lnTo>
                    <a:pt x="1939" y="711"/>
                  </a:lnTo>
                  <a:lnTo>
                    <a:pt x="1944" y="711"/>
                  </a:lnTo>
                  <a:lnTo>
                    <a:pt x="1949" y="711"/>
                  </a:lnTo>
                  <a:lnTo>
                    <a:pt x="1954" y="711"/>
                  </a:lnTo>
                  <a:lnTo>
                    <a:pt x="1956" y="711"/>
                  </a:lnTo>
                  <a:lnTo>
                    <a:pt x="1964" y="708"/>
                  </a:lnTo>
                  <a:lnTo>
                    <a:pt x="1966" y="708"/>
                  </a:lnTo>
                  <a:lnTo>
                    <a:pt x="1971" y="706"/>
                  </a:lnTo>
                  <a:lnTo>
                    <a:pt x="1977" y="703"/>
                  </a:lnTo>
                  <a:lnTo>
                    <a:pt x="1979" y="701"/>
                  </a:lnTo>
                  <a:lnTo>
                    <a:pt x="1982" y="698"/>
                  </a:lnTo>
                  <a:lnTo>
                    <a:pt x="1984" y="693"/>
                  </a:lnTo>
                  <a:lnTo>
                    <a:pt x="1984" y="691"/>
                  </a:lnTo>
                  <a:lnTo>
                    <a:pt x="1984" y="681"/>
                  </a:lnTo>
                  <a:lnTo>
                    <a:pt x="1984" y="673"/>
                  </a:lnTo>
                  <a:lnTo>
                    <a:pt x="1984" y="668"/>
                  </a:lnTo>
                  <a:lnTo>
                    <a:pt x="1984" y="666"/>
                  </a:lnTo>
                  <a:lnTo>
                    <a:pt x="1984" y="661"/>
                  </a:lnTo>
                  <a:lnTo>
                    <a:pt x="1987" y="658"/>
                  </a:lnTo>
                  <a:lnTo>
                    <a:pt x="1989" y="656"/>
                  </a:lnTo>
                  <a:lnTo>
                    <a:pt x="1992" y="653"/>
                  </a:lnTo>
                  <a:lnTo>
                    <a:pt x="1994" y="648"/>
                  </a:lnTo>
                  <a:lnTo>
                    <a:pt x="1992" y="640"/>
                  </a:lnTo>
                  <a:lnTo>
                    <a:pt x="1989" y="633"/>
                  </a:lnTo>
                  <a:lnTo>
                    <a:pt x="1989" y="628"/>
                  </a:lnTo>
                  <a:lnTo>
                    <a:pt x="1992" y="625"/>
                  </a:lnTo>
                  <a:lnTo>
                    <a:pt x="1994" y="620"/>
                  </a:lnTo>
                  <a:lnTo>
                    <a:pt x="1999" y="615"/>
                  </a:lnTo>
                  <a:lnTo>
                    <a:pt x="2004" y="608"/>
                  </a:lnTo>
                  <a:lnTo>
                    <a:pt x="2007" y="600"/>
                  </a:lnTo>
                  <a:lnTo>
                    <a:pt x="2009" y="593"/>
                  </a:lnTo>
                  <a:lnTo>
                    <a:pt x="2012" y="585"/>
                  </a:lnTo>
                  <a:lnTo>
                    <a:pt x="2009" y="580"/>
                  </a:lnTo>
                  <a:lnTo>
                    <a:pt x="2009" y="572"/>
                  </a:lnTo>
                  <a:lnTo>
                    <a:pt x="2012" y="565"/>
                  </a:lnTo>
                  <a:lnTo>
                    <a:pt x="2014" y="560"/>
                  </a:lnTo>
                  <a:lnTo>
                    <a:pt x="2022" y="552"/>
                  </a:lnTo>
                  <a:lnTo>
                    <a:pt x="2027" y="545"/>
                  </a:lnTo>
                  <a:lnTo>
                    <a:pt x="2035" y="540"/>
                  </a:lnTo>
                  <a:lnTo>
                    <a:pt x="2042" y="535"/>
                  </a:lnTo>
                  <a:lnTo>
                    <a:pt x="2047" y="532"/>
                  </a:lnTo>
                  <a:lnTo>
                    <a:pt x="2052" y="529"/>
                  </a:lnTo>
                  <a:lnTo>
                    <a:pt x="2057" y="527"/>
                  </a:lnTo>
                  <a:lnTo>
                    <a:pt x="2065" y="524"/>
                  </a:lnTo>
                  <a:lnTo>
                    <a:pt x="2072" y="517"/>
                  </a:lnTo>
                  <a:lnTo>
                    <a:pt x="2080" y="512"/>
                  </a:lnTo>
                  <a:lnTo>
                    <a:pt x="2087" y="502"/>
                  </a:lnTo>
                  <a:lnTo>
                    <a:pt x="2093" y="494"/>
                  </a:lnTo>
                  <a:lnTo>
                    <a:pt x="2098" y="484"/>
                  </a:lnTo>
                  <a:lnTo>
                    <a:pt x="2100" y="474"/>
                  </a:lnTo>
                  <a:lnTo>
                    <a:pt x="2105" y="466"/>
                  </a:lnTo>
                  <a:lnTo>
                    <a:pt x="2108" y="461"/>
                  </a:lnTo>
                  <a:lnTo>
                    <a:pt x="2108" y="456"/>
                  </a:lnTo>
                  <a:lnTo>
                    <a:pt x="2113" y="454"/>
                  </a:lnTo>
                  <a:lnTo>
                    <a:pt x="2118" y="451"/>
                  </a:lnTo>
                  <a:lnTo>
                    <a:pt x="2123" y="449"/>
                  </a:lnTo>
                  <a:lnTo>
                    <a:pt x="2125" y="446"/>
                  </a:lnTo>
                  <a:lnTo>
                    <a:pt x="2130" y="444"/>
                  </a:lnTo>
                  <a:lnTo>
                    <a:pt x="2135" y="439"/>
                  </a:lnTo>
                  <a:lnTo>
                    <a:pt x="2140" y="434"/>
                  </a:lnTo>
                  <a:lnTo>
                    <a:pt x="2148" y="429"/>
                  </a:lnTo>
                  <a:lnTo>
                    <a:pt x="2156" y="424"/>
                  </a:lnTo>
                  <a:lnTo>
                    <a:pt x="2163" y="416"/>
                  </a:lnTo>
                  <a:lnTo>
                    <a:pt x="2171" y="411"/>
                  </a:lnTo>
                  <a:lnTo>
                    <a:pt x="2176" y="403"/>
                  </a:lnTo>
                  <a:lnTo>
                    <a:pt x="2183" y="396"/>
                  </a:lnTo>
                  <a:lnTo>
                    <a:pt x="2191" y="391"/>
                  </a:lnTo>
                  <a:lnTo>
                    <a:pt x="2196" y="386"/>
                  </a:lnTo>
                  <a:lnTo>
                    <a:pt x="2198" y="378"/>
                  </a:lnTo>
                  <a:lnTo>
                    <a:pt x="2203" y="376"/>
                  </a:lnTo>
                  <a:lnTo>
                    <a:pt x="2203" y="371"/>
                  </a:lnTo>
                  <a:lnTo>
                    <a:pt x="2206" y="368"/>
                  </a:lnTo>
                  <a:lnTo>
                    <a:pt x="2203" y="366"/>
                  </a:lnTo>
                  <a:lnTo>
                    <a:pt x="2196" y="363"/>
                  </a:lnTo>
                  <a:lnTo>
                    <a:pt x="2188" y="363"/>
                  </a:lnTo>
                  <a:lnTo>
                    <a:pt x="2178" y="366"/>
                  </a:lnTo>
                  <a:lnTo>
                    <a:pt x="2168" y="368"/>
                  </a:lnTo>
                  <a:lnTo>
                    <a:pt x="2161" y="371"/>
                  </a:lnTo>
                  <a:lnTo>
                    <a:pt x="2150" y="376"/>
                  </a:lnTo>
                  <a:lnTo>
                    <a:pt x="2143" y="381"/>
                  </a:lnTo>
                  <a:lnTo>
                    <a:pt x="2140" y="383"/>
                  </a:lnTo>
                  <a:lnTo>
                    <a:pt x="2140" y="381"/>
                  </a:lnTo>
                  <a:lnTo>
                    <a:pt x="2143" y="378"/>
                  </a:lnTo>
                  <a:lnTo>
                    <a:pt x="2145" y="376"/>
                  </a:lnTo>
                  <a:lnTo>
                    <a:pt x="2145" y="371"/>
                  </a:lnTo>
                  <a:lnTo>
                    <a:pt x="2143" y="366"/>
                  </a:lnTo>
                  <a:lnTo>
                    <a:pt x="2138" y="366"/>
                  </a:lnTo>
                  <a:lnTo>
                    <a:pt x="2128" y="366"/>
                  </a:lnTo>
                  <a:lnTo>
                    <a:pt x="2125" y="368"/>
                  </a:lnTo>
                  <a:lnTo>
                    <a:pt x="2125" y="366"/>
                  </a:lnTo>
                  <a:lnTo>
                    <a:pt x="2130" y="363"/>
                  </a:lnTo>
                  <a:lnTo>
                    <a:pt x="2140" y="358"/>
                  </a:lnTo>
                  <a:lnTo>
                    <a:pt x="2150" y="356"/>
                  </a:lnTo>
                  <a:lnTo>
                    <a:pt x="2158" y="353"/>
                  </a:lnTo>
                  <a:lnTo>
                    <a:pt x="2166" y="350"/>
                  </a:lnTo>
                  <a:lnTo>
                    <a:pt x="2171" y="353"/>
                  </a:lnTo>
                  <a:lnTo>
                    <a:pt x="2173" y="353"/>
                  </a:lnTo>
                  <a:lnTo>
                    <a:pt x="2178" y="356"/>
                  </a:lnTo>
                  <a:lnTo>
                    <a:pt x="2183" y="353"/>
                  </a:lnTo>
                  <a:lnTo>
                    <a:pt x="2188" y="353"/>
                  </a:lnTo>
                  <a:lnTo>
                    <a:pt x="2193" y="350"/>
                  </a:lnTo>
                  <a:lnTo>
                    <a:pt x="2198" y="345"/>
                  </a:lnTo>
                  <a:lnTo>
                    <a:pt x="2201" y="343"/>
                  </a:lnTo>
                  <a:lnTo>
                    <a:pt x="2201" y="338"/>
                  </a:lnTo>
                  <a:lnTo>
                    <a:pt x="2198" y="333"/>
                  </a:lnTo>
                  <a:lnTo>
                    <a:pt x="2196" y="330"/>
                  </a:lnTo>
                  <a:lnTo>
                    <a:pt x="2193" y="328"/>
                  </a:lnTo>
                  <a:lnTo>
                    <a:pt x="2188" y="325"/>
                  </a:lnTo>
                  <a:lnTo>
                    <a:pt x="2183" y="325"/>
                  </a:lnTo>
                  <a:lnTo>
                    <a:pt x="2176" y="323"/>
                  </a:lnTo>
                  <a:lnTo>
                    <a:pt x="2168" y="323"/>
                  </a:lnTo>
                  <a:lnTo>
                    <a:pt x="2161" y="323"/>
                  </a:lnTo>
                  <a:lnTo>
                    <a:pt x="2153" y="323"/>
                  </a:lnTo>
                  <a:lnTo>
                    <a:pt x="2145" y="323"/>
                  </a:lnTo>
                  <a:lnTo>
                    <a:pt x="2140" y="323"/>
                  </a:lnTo>
                  <a:lnTo>
                    <a:pt x="2138" y="325"/>
                  </a:lnTo>
                  <a:lnTo>
                    <a:pt x="2135" y="325"/>
                  </a:lnTo>
                  <a:lnTo>
                    <a:pt x="2135" y="323"/>
                  </a:lnTo>
                  <a:lnTo>
                    <a:pt x="2138" y="320"/>
                  </a:lnTo>
                  <a:lnTo>
                    <a:pt x="2143" y="318"/>
                  </a:lnTo>
                  <a:lnTo>
                    <a:pt x="2148" y="318"/>
                  </a:lnTo>
                  <a:lnTo>
                    <a:pt x="2153" y="318"/>
                  </a:lnTo>
                  <a:lnTo>
                    <a:pt x="2158" y="318"/>
                  </a:lnTo>
                  <a:lnTo>
                    <a:pt x="2161" y="315"/>
                  </a:lnTo>
                  <a:lnTo>
                    <a:pt x="2161" y="313"/>
                  </a:lnTo>
                  <a:lnTo>
                    <a:pt x="2156" y="310"/>
                  </a:lnTo>
                  <a:lnTo>
                    <a:pt x="2150" y="308"/>
                  </a:lnTo>
                  <a:lnTo>
                    <a:pt x="2145" y="305"/>
                  </a:lnTo>
                  <a:lnTo>
                    <a:pt x="2140" y="303"/>
                  </a:lnTo>
                  <a:lnTo>
                    <a:pt x="2135" y="303"/>
                  </a:lnTo>
                  <a:lnTo>
                    <a:pt x="2133" y="300"/>
                  </a:lnTo>
                  <a:lnTo>
                    <a:pt x="2133" y="298"/>
                  </a:lnTo>
                  <a:lnTo>
                    <a:pt x="2138" y="295"/>
                  </a:lnTo>
                  <a:lnTo>
                    <a:pt x="2143" y="292"/>
                  </a:lnTo>
                  <a:lnTo>
                    <a:pt x="2148" y="290"/>
                  </a:lnTo>
                  <a:lnTo>
                    <a:pt x="2150" y="285"/>
                  </a:lnTo>
                  <a:lnTo>
                    <a:pt x="2153" y="282"/>
                  </a:lnTo>
                  <a:lnTo>
                    <a:pt x="2156" y="277"/>
                  </a:lnTo>
                  <a:lnTo>
                    <a:pt x="2156" y="275"/>
                  </a:lnTo>
                  <a:lnTo>
                    <a:pt x="2153" y="272"/>
                  </a:lnTo>
                  <a:lnTo>
                    <a:pt x="2153" y="270"/>
                  </a:lnTo>
                  <a:lnTo>
                    <a:pt x="2150" y="267"/>
                  </a:lnTo>
                  <a:lnTo>
                    <a:pt x="2150" y="265"/>
                  </a:lnTo>
                  <a:lnTo>
                    <a:pt x="2150" y="260"/>
                  </a:lnTo>
                  <a:lnTo>
                    <a:pt x="2153" y="257"/>
                  </a:lnTo>
                  <a:lnTo>
                    <a:pt x="2153" y="255"/>
                  </a:lnTo>
                  <a:lnTo>
                    <a:pt x="2153" y="252"/>
                  </a:lnTo>
                  <a:lnTo>
                    <a:pt x="2150" y="250"/>
                  </a:lnTo>
                  <a:lnTo>
                    <a:pt x="2148" y="250"/>
                  </a:lnTo>
                  <a:lnTo>
                    <a:pt x="2143" y="247"/>
                  </a:lnTo>
                  <a:lnTo>
                    <a:pt x="2140" y="245"/>
                  </a:lnTo>
                  <a:lnTo>
                    <a:pt x="2140" y="242"/>
                  </a:lnTo>
                  <a:lnTo>
                    <a:pt x="2140" y="240"/>
                  </a:lnTo>
                  <a:lnTo>
                    <a:pt x="2140" y="237"/>
                  </a:lnTo>
                  <a:lnTo>
                    <a:pt x="2138" y="234"/>
                  </a:lnTo>
                  <a:lnTo>
                    <a:pt x="2133" y="234"/>
                  </a:lnTo>
                  <a:lnTo>
                    <a:pt x="2128" y="232"/>
                  </a:lnTo>
                  <a:lnTo>
                    <a:pt x="2120" y="232"/>
                  </a:lnTo>
                  <a:lnTo>
                    <a:pt x="2113" y="229"/>
                  </a:lnTo>
                  <a:lnTo>
                    <a:pt x="2105" y="229"/>
                  </a:lnTo>
                  <a:lnTo>
                    <a:pt x="2100" y="227"/>
                  </a:lnTo>
                  <a:lnTo>
                    <a:pt x="2095" y="224"/>
                  </a:lnTo>
                  <a:lnTo>
                    <a:pt x="2095" y="219"/>
                  </a:lnTo>
                  <a:lnTo>
                    <a:pt x="2100" y="217"/>
                  </a:lnTo>
                  <a:lnTo>
                    <a:pt x="2105" y="212"/>
                  </a:lnTo>
                  <a:lnTo>
                    <a:pt x="2108" y="207"/>
                  </a:lnTo>
                  <a:lnTo>
                    <a:pt x="2110" y="204"/>
                  </a:lnTo>
                  <a:lnTo>
                    <a:pt x="2108" y="202"/>
                  </a:lnTo>
                  <a:lnTo>
                    <a:pt x="2105" y="202"/>
                  </a:lnTo>
                  <a:lnTo>
                    <a:pt x="2103" y="199"/>
                  </a:lnTo>
                  <a:lnTo>
                    <a:pt x="2098" y="202"/>
                  </a:lnTo>
                  <a:lnTo>
                    <a:pt x="2093" y="202"/>
                  </a:lnTo>
                  <a:lnTo>
                    <a:pt x="2087" y="202"/>
                  </a:lnTo>
                  <a:lnTo>
                    <a:pt x="2085" y="202"/>
                  </a:lnTo>
                  <a:lnTo>
                    <a:pt x="2082" y="199"/>
                  </a:lnTo>
                  <a:lnTo>
                    <a:pt x="2082" y="197"/>
                  </a:lnTo>
                  <a:lnTo>
                    <a:pt x="2080" y="197"/>
                  </a:lnTo>
                  <a:lnTo>
                    <a:pt x="2077" y="194"/>
                  </a:lnTo>
                  <a:lnTo>
                    <a:pt x="2075" y="194"/>
                  </a:lnTo>
                  <a:lnTo>
                    <a:pt x="2070" y="194"/>
                  </a:lnTo>
                  <a:lnTo>
                    <a:pt x="2062" y="194"/>
                  </a:lnTo>
                  <a:lnTo>
                    <a:pt x="2055" y="184"/>
                  </a:lnTo>
                  <a:lnTo>
                    <a:pt x="2052" y="174"/>
                  </a:lnTo>
                  <a:lnTo>
                    <a:pt x="2050" y="161"/>
                  </a:lnTo>
                  <a:lnTo>
                    <a:pt x="2050" y="154"/>
                  </a:lnTo>
                  <a:lnTo>
                    <a:pt x="2050" y="146"/>
                  </a:lnTo>
                  <a:lnTo>
                    <a:pt x="2050" y="141"/>
                  </a:lnTo>
                  <a:lnTo>
                    <a:pt x="2047" y="134"/>
                  </a:lnTo>
                  <a:lnTo>
                    <a:pt x="2045" y="129"/>
                  </a:lnTo>
                  <a:lnTo>
                    <a:pt x="2045" y="121"/>
                  </a:lnTo>
                  <a:lnTo>
                    <a:pt x="2047" y="111"/>
                  </a:lnTo>
                  <a:lnTo>
                    <a:pt x="2047" y="103"/>
                  </a:lnTo>
                  <a:lnTo>
                    <a:pt x="2047" y="101"/>
                  </a:lnTo>
                  <a:lnTo>
                    <a:pt x="2045" y="98"/>
                  </a:lnTo>
                  <a:lnTo>
                    <a:pt x="2042" y="98"/>
                  </a:lnTo>
                  <a:lnTo>
                    <a:pt x="2040" y="96"/>
                  </a:lnTo>
                  <a:lnTo>
                    <a:pt x="2035" y="96"/>
                  </a:lnTo>
                  <a:lnTo>
                    <a:pt x="2032" y="98"/>
                  </a:lnTo>
                  <a:lnTo>
                    <a:pt x="2029" y="98"/>
                  </a:lnTo>
                  <a:lnTo>
                    <a:pt x="2027" y="98"/>
                  </a:lnTo>
                  <a:lnTo>
                    <a:pt x="2022" y="101"/>
                  </a:lnTo>
                  <a:lnTo>
                    <a:pt x="2017" y="103"/>
                  </a:lnTo>
                  <a:lnTo>
                    <a:pt x="2014" y="106"/>
                  </a:lnTo>
                  <a:lnTo>
                    <a:pt x="2012" y="111"/>
                  </a:lnTo>
                  <a:lnTo>
                    <a:pt x="2009" y="113"/>
                  </a:lnTo>
                  <a:lnTo>
                    <a:pt x="2007" y="116"/>
                  </a:lnTo>
                  <a:lnTo>
                    <a:pt x="2004" y="121"/>
                  </a:lnTo>
                  <a:lnTo>
                    <a:pt x="2004" y="124"/>
                  </a:lnTo>
                  <a:lnTo>
                    <a:pt x="2002" y="129"/>
                  </a:lnTo>
                  <a:lnTo>
                    <a:pt x="1999" y="131"/>
                  </a:lnTo>
                  <a:lnTo>
                    <a:pt x="1997" y="131"/>
                  </a:lnTo>
                  <a:lnTo>
                    <a:pt x="1994" y="131"/>
                  </a:lnTo>
                  <a:lnTo>
                    <a:pt x="1992" y="134"/>
                  </a:lnTo>
                  <a:lnTo>
                    <a:pt x="1992" y="131"/>
                  </a:lnTo>
                  <a:lnTo>
                    <a:pt x="1989" y="131"/>
                  </a:lnTo>
                  <a:lnTo>
                    <a:pt x="1987" y="129"/>
                  </a:lnTo>
                  <a:lnTo>
                    <a:pt x="1984" y="126"/>
                  </a:lnTo>
                  <a:lnTo>
                    <a:pt x="1982" y="126"/>
                  </a:lnTo>
                  <a:lnTo>
                    <a:pt x="1979" y="126"/>
                  </a:lnTo>
                  <a:lnTo>
                    <a:pt x="1977" y="129"/>
                  </a:lnTo>
                  <a:lnTo>
                    <a:pt x="1974" y="131"/>
                  </a:lnTo>
                  <a:lnTo>
                    <a:pt x="1971" y="134"/>
                  </a:lnTo>
                  <a:lnTo>
                    <a:pt x="1969" y="136"/>
                  </a:lnTo>
                  <a:lnTo>
                    <a:pt x="1964" y="141"/>
                  </a:lnTo>
                  <a:lnTo>
                    <a:pt x="1964" y="139"/>
                  </a:lnTo>
                  <a:lnTo>
                    <a:pt x="1964" y="136"/>
                  </a:lnTo>
                  <a:lnTo>
                    <a:pt x="1964" y="134"/>
                  </a:lnTo>
                  <a:lnTo>
                    <a:pt x="1961" y="131"/>
                  </a:lnTo>
                  <a:lnTo>
                    <a:pt x="1954" y="131"/>
                  </a:lnTo>
                  <a:lnTo>
                    <a:pt x="1946" y="134"/>
                  </a:lnTo>
                  <a:lnTo>
                    <a:pt x="1946" y="131"/>
                  </a:lnTo>
                  <a:lnTo>
                    <a:pt x="1951" y="129"/>
                  </a:lnTo>
                  <a:lnTo>
                    <a:pt x="1954" y="124"/>
                  </a:lnTo>
                  <a:lnTo>
                    <a:pt x="1959" y="119"/>
                  </a:lnTo>
                  <a:lnTo>
                    <a:pt x="1961" y="116"/>
                  </a:lnTo>
                  <a:lnTo>
                    <a:pt x="1964" y="111"/>
                  </a:lnTo>
                  <a:lnTo>
                    <a:pt x="1961" y="108"/>
                  </a:lnTo>
                  <a:lnTo>
                    <a:pt x="1954" y="108"/>
                  </a:lnTo>
                  <a:lnTo>
                    <a:pt x="1949" y="111"/>
                  </a:lnTo>
                  <a:lnTo>
                    <a:pt x="1944" y="111"/>
                  </a:lnTo>
                  <a:lnTo>
                    <a:pt x="1939" y="111"/>
                  </a:lnTo>
                  <a:lnTo>
                    <a:pt x="1934" y="108"/>
                  </a:lnTo>
                  <a:lnTo>
                    <a:pt x="1931" y="108"/>
                  </a:lnTo>
                  <a:lnTo>
                    <a:pt x="1926" y="108"/>
                  </a:lnTo>
                  <a:lnTo>
                    <a:pt x="1924" y="108"/>
                  </a:lnTo>
                  <a:lnTo>
                    <a:pt x="1919" y="108"/>
                  </a:lnTo>
                  <a:lnTo>
                    <a:pt x="1916" y="108"/>
                  </a:lnTo>
                  <a:lnTo>
                    <a:pt x="1914" y="111"/>
                  </a:lnTo>
                  <a:lnTo>
                    <a:pt x="1911" y="111"/>
                  </a:lnTo>
                  <a:lnTo>
                    <a:pt x="1906" y="111"/>
                  </a:lnTo>
                  <a:lnTo>
                    <a:pt x="1898" y="116"/>
                  </a:lnTo>
                  <a:lnTo>
                    <a:pt x="1888" y="121"/>
                  </a:lnTo>
                  <a:lnTo>
                    <a:pt x="1876" y="126"/>
                  </a:lnTo>
                  <a:lnTo>
                    <a:pt x="1866" y="129"/>
                  </a:lnTo>
                  <a:lnTo>
                    <a:pt x="1853" y="134"/>
                  </a:lnTo>
                  <a:lnTo>
                    <a:pt x="1845" y="139"/>
                  </a:lnTo>
                  <a:lnTo>
                    <a:pt x="1838" y="144"/>
                  </a:lnTo>
                  <a:lnTo>
                    <a:pt x="1835" y="149"/>
                  </a:lnTo>
                  <a:lnTo>
                    <a:pt x="1833" y="151"/>
                  </a:lnTo>
                  <a:lnTo>
                    <a:pt x="1830" y="156"/>
                  </a:lnTo>
                  <a:lnTo>
                    <a:pt x="1830" y="159"/>
                  </a:lnTo>
                  <a:lnTo>
                    <a:pt x="1828" y="161"/>
                  </a:lnTo>
                  <a:lnTo>
                    <a:pt x="1825" y="164"/>
                  </a:lnTo>
                  <a:lnTo>
                    <a:pt x="1820" y="166"/>
                  </a:lnTo>
                  <a:lnTo>
                    <a:pt x="1815" y="166"/>
                  </a:lnTo>
                  <a:lnTo>
                    <a:pt x="1808" y="166"/>
                  </a:lnTo>
                  <a:lnTo>
                    <a:pt x="1800" y="169"/>
                  </a:lnTo>
                  <a:lnTo>
                    <a:pt x="1792" y="169"/>
                  </a:lnTo>
                  <a:lnTo>
                    <a:pt x="1782" y="174"/>
                  </a:lnTo>
                  <a:lnTo>
                    <a:pt x="1775" y="176"/>
                  </a:lnTo>
                  <a:lnTo>
                    <a:pt x="1767" y="182"/>
                  </a:lnTo>
                  <a:lnTo>
                    <a:pt x="1760" y="184"/>
                  </a:lnTo>
                  <a:lnTo>
                    <a:pt x="1755" y="189"/>
                  </a:lnTo>
                  <a:lnTo>
                    <a:pt x="1752" y="192"/>
                  </a:lnTo>
                  <a:lnTo>
                    <a:pt x="1750" y="197"/>
                  </a:lnTo>
                  <a:lnTo>
                    <a:pt x="1745" y="202"/>
                  </a:lnTo>
                  <a:lnTo>
                    <a:pt x="1737" y="207"/>
                  </a:lnTo>
                  <a:lnTo>
                    <a:pt x="1727" y="212"/>
                  </a:lnTo>
                  <a:lnTo>
                    <a:pt x="1719" y="217"/>
                  </a:lnTo>
                  <a:lnTo>
                    <a:pt x="1712" y="222"/>
                  </a:lnTo>
                  <a:lnTo>
                    <a:pt x="1707" y="229"/>
                  </a:lnTo>
                  <a:lnTo>
                    <a:pt x="1704" y="234"/>
                  </a:lnTo>
                  <a:lnTo>
                    <a:pt x="1704" y="240"/>
                  </a:lnTo>
                  <a:lnTo>
                    <a:pt x="1702" y="247"/>
                  </a:lnTo>
                  <a:lnTo>
                    <a:pt x="1697" y="252"/>
                  </a:lnTo>
                  <a:lnTo>
                    <a:pt x="1692" y="255"/>
                  </a:lnTo>
                  <a:lnTo>
                    <a:pt x="1684" y="260"/>
                  </a:lnTo>
                  <a:lnTo>
                    <a:pt x="1677" y="262"/>
                  </a:lnTo>
                  <a:lnTo>
                    <a:pt x="1669" y="265"/>
                  </a:lnTo>
                  <a:lnTo>
                    <a:pt x="1659" y="267"/>
                  </a:lnTo>
                  <a:lnTo>
                    <a:pt x="1651" y="270"/>
                  </a:lnTo>
                  <a:lnTo>
                    <a:pt x="1646" y="272"/>
                  </a:lnTo>
                  <a:lnTo>
                    <a:pt x="1639" y="277"/>
                  </a:lnTo>
                  <a:lnTo>
                    <a:pt x="1636" y="280"/>
                  </a:lnTo>
                  <a:lnTo>
                    <a:pt x="1634" y="282"/>
                  </a:lnTo>
                  <a:lnTo>
                    <a:pt x="1634" y="287"/>
                  </a:lnTo>
                  <a:lnTo>
                    <a:pt x="1634" y="290"/>
                  </a:lnTo>
                  <a:lnTo>
                    <a:pt x="1636" y="295"/>
                  </a:lnTo>
                  <a:close/>
                  <a:moveTo>
                    <a:pt x="1258" y="159"/>
                  </a:moveTo>
                  <a:lnTo>
                    <a:pt x="1258" y="159"/>
                  </a:lnTo>
                  <a:lnTo>
                    <a:pt x="1261" y="159"/>
                  </a:lnTo>
                  <a:lnTo>
                    <a:pt x="1263" y="164"/>
                  </a:lnTo>
                  <a:lnTo>
                    <a:pt x="1271" y="166"/>
                  </a:lnTo>
                  <a:lnTo>
                    <a:pt x="1278" y="166"/>
                  </a:lnTo>
                  <a:lnTo>
                    <a:pt x="1283" y="161"/>
                  </a:lnTo>
                  <a:lnTo>
                    <a:pt x="1288" y="159"/>
                  </a:lnTo>
                  <a:lnTo>
                    <a:pt x="1291" y="156"/>
                  </a:lnTo>
                  <a:lnTo>
                    <a:pt x="1293" y="154"/>
                  </a:lnTo>
                  <a:lnTo>
                    <a:pt x="1296" y="156"/>
                  </a:lnTo>
                  <a:lnTo>
                    <a:pt x="1301" y="159"/>
                  </a:lnTo>
                  <a:lnTo>
                    <a:pt x="1306" y="164"/>
                  </a:lnTo>
                  <a:lnTo>
                    <a:pt x="1311" y="169"/>
                  </a:lnTo>
                  <a:lnTo>
                    <a:pt x="1316" y="174"/>
                  </a:lnTo>
                  <a:lnTo>
                    <a:pt x="1316" y="176"/>
                  </a:lnTo>
                  <a:lnTo>
                    <a:pt x="1311" y="174"/>
                  </a:lnTo>
                  <a:lnTo>
                    <a:pt x="1306" y="171"/>
                  </a:lnTo>
                  <a:lnTo>
                    <a:pt x="1298" y="169"/>
                  </a:lnTo>
                  <a:lnTo>
                    <a:pt x="1296" y="171"/>
                  </a:lnTo>
                  <a:lnTo>
                    <a:pt x="1296" y="176"/>
                  </a:lnTo>
                  <a:lnTo>
                    <a:pt x="1296" y="182"/>
                  </a:lnTo>
                  <a:lnTo>
                    <a:pt x="1301" y="184"/>
                  </a:lnTo>
                  <a:lnTo>
                    <a:pt x="1303" y="189"/>
                  </a:lnTo>
                  <a:lnTo>
                    <a:pt x="1303" y="194"/>
                  </a:lnTo>
                  <a:lnTo>
                    <a:pt x="1301" y="197"/>
                  </a:lnTo>
                  <a:lnTo>
                    <a:pt x="1296" y="199"/>
                  </a:lnTo>
                  <a:lnTo>
                    <a:pt x="1293" y="202"/>
                  </a:lnTo>
                  <a:lnTo>
                    <a:pt x="1291" y="204"/>
                  </a:lnTo>
                  <a:lnTo>
                    <a:pt x="1293" y="209"/>
                  </a:lnTo>
                  <a:lnTo>
                    <a:pt x="1296" y="214"/>
                  </a:lnTo>
                  <a:lnTo>
                    <a:pt x="1298" y="214"/>
                  </a:lnTo>
                  <a:lnTo>
                    <a:pt x="1306" y="214"/>
                  </a:lnTo>
                  <a:lnTo>
                    <a:pt x="1313" y="214"/>
                  </a:lnTo>
                  <a:lnTo>
                    <a:pt x="1321" y="214"/>
                  </a:lnTo>
                  <a:lnTo>
                    <a:pt x="1326" y="214"/>
                  </a:lnTo>
                  <a:lnTo>
                    <a:pt x="1331" y="212"/>
                  </a:lnTo>
                  <a:lnTo>
                    <a:pt x="1336" y="209"/>
                  </a:lnTo>
                  <a:lnTo>
                    <a:pt x="1341" y="207"/>
                  </a:lnTo>
                  <a:lnTo>
                    <a:pt x="1346" y="204"/>
                  </a:lnTo>
                  <a:lnTo>
                    <a:pt x="1351" y="204"/>
                  </a:lnTo>
                  <a:lnTo>
                    <a:pt x="1356" y="207"/>
                  </a:lnTo>
                  <a:lnTo>
                    <a:pt x="1359" y="207"/>
                  </a:lnTo>
                  <a:lnTo>
                    <a:pt x="1364" y="207"/>
                  </a:lnTo>
                  <a:lnTo>
                    <a:pt x="1366" y="204"/>
                  </a:lnTo>
                  <a:lnTo>
                    <a:pt x="1371" y="199"/>
                  </a:lnTo>
                  <a:lnTo>
                    <a:pt x="1374" y="197"/>
                  </a:lnTo>
                  <a:lnTo>
                    <a:pt x="1377" y="194"/>
                  </a:lnTo>
                  <a:lnTo>
                    <a:pt x="1374" y="189"/>
                  </a:lnTo>
                  <a:lnTo>
                    <a:pt x="1369" y="187"/>
                  </a:lnTo>
                  <a:lnTo>
                    <a:pt x="1361" y="184"/>
                  </a:lnTo>
                  <a:lnTo>
                    <a:pt x="1359" y="182"/>
                  </a:lnTo>
                  <a:lnTo>
                    <a:pt x="1356" y="179"/>
                  </a:lnTo>
                  <a:lnTo>
                    <a:pt x="1359" y="176"/>
                  </a:lnTo>
                  <a:lnTo>
                    <a:pt x="1364" y="174"/>
                  </a:lnTo>
                  <a:lnTo>
                    <a:pt x="1364" y="171"/>
                  </a:lnTo>
                  <a:lnTo>
                    <a:pt x="1366" y="166"/>
                  </a:lnTo>
                  <a:lnTo>
                    <a:pt x="1364" y="161"/>
                  </a:lnTo>
                  <a:lnTo>
                    <a:pt x="1364" y="159"/>
                  </a:lnTo>
                  <a:lnTo>
                    <a:pt x="1364" y="156"/>
                  </a:lnTo>
                  <a:lnTo>
                    <a:pt x="1364" y="154"/>
                  </a:lnTo>
                  <a:lnTo>
                    <a:pt x="1366" y="151"/>
                  </a:lnTo>
                  <a:lnTo>
                    <a:pt x="1371" y="144"/>
                  </a:lnTo>
                  <a:lnTo>
                    <a:pt x="1377" y="136"/>
                  </a:lnTo>
                  <a:lnTo>
                    <a:pt x="1374" y="129"/>
                  </a:lnTo>
                  <a:lnTo>
                    <a:pt x="1366" y="124"/>
                  </a:lnTo>
                  <a:lnTo>
                    <a:pt x="1359" y="119"/>
                  </a:lnTo>
                  <a:lnTo>
                    <a:pt x="1354" y="116"/>
                  </a:lnTo>
                  <a:lnTo>
                    <a:pt x="1354" y="111"/>
                  </a:lnTo>
                  <a:lnTo>
                    <a:pt x="1359" y="108"/>
                  </a:lnTo>
                  <a:lnTo>
                    <a:pt x="1366" y="103"/>
                  </a:lnTo>
                  <a:lnTo>
                    <a:pt x="1371" y="98"/>
                  </a:lnTo>
                  <a:lnTo>
                    <a:pt x="1374" y="91"/>
                  </a:lnTo>
                  <a:lnTo>
                    <a:pt x="1374" y="86"/>
                  </a:lnTo>
                  <a:lnTo>
                    <a:pt x="1374" y="78"/>
                  </a:lnTo>
                  <a:lnTo>
                    <a:pt x="1374" y="71"/>
                  </a:lnTo>
                  <a:lnTo>
                    <a:pt x="1374" y="66"/>
                  </a:lnTo>
                  <a:lnTo>
                    <a:pt x="1377" y="55"/>
                  </a:lnTo>
                  <a:lnTo>
                    <a:pt x="1377" y="48"/>
                  </a:lnTo>
                  <a:lnTo>
                    <a:pt x="1379" y="40"/>
                  </a:lnTo>
                  <a:lnTo>
                    <a:pt x="1377" y="38"/>
                  </a:lnTo>
                  <a:lnTo>
                    <a:pt x="1374" y="35"/>
                  </a:lnTo>
                  <a:lnTo>
                    <a:pt x="1369" y="38"/>
                  </a:lnTo>
                  <a:lnTo>
                    <a:pt x="1366" y="35"/>
                  </a:lnTo>
                  <a:lnTo>
                    <a:pt x="1369" y="30"/>
                  </a:lnTo>
                  <a:lnTo>
                    <a:pt x="1374" y="23"/>
                  </a:lnTo>
                  <a:lnTo>
                    <a:pt x="1377" y="18"/>
                  </a:lnTo>
                  <a:lnTo>
                    <a:pt x="1377" y="10"/>
                  </a:lnTo>
                  <a:lnTo>
                    <a:pt x="1377" y="5"/>
                  </a:lnTo>
                  <a:lnTo>
                    <a:pt x="1374" y="5"/>
                  </a:lnTo>
                  <a:lnTo>
                    <a:pt x="1371" y="5"/>
                  </a:lnTo>
                  <a:lnTo>
                    <a:pt x="1369" y="5"/>
                  </a:lnTo>
                  <a:lnTo>
                    <a:pt x="1366" y="5"/>
                  </a:lnTo>
                  <a:lnTo>
                    <a:pt x="1361" y="3"/>
                  </a:lnTo>
                  <a:lnTo>
                    <a:pt x="1356" y="3"/>
                  </a:lnTo>
                  <a:lnTo>
                    <a:pt x="1354" y="0"/>
                  </a:lnTo>
                  <a:lnTo>
                    <a:pt x="1351" y="0"/>
                  </a:lnTo>
                  <a:lnTo>
                    <a:pt x="1349" y="3"/>
                  </a:lnTo>
                  <a:lnTo>
                    <a:pt x="1346" y="5"/>
                  </a:lnTo>
                  <a:lnTo>
                    <a:pt x="1341" y="5"/>
                  </a:lnTo>
                  <a:lnTo>
                    <a:pt x="1336" y="5"/>
                  </a:lnTo>
                  <a:lnTo>
                    <a:pt x="1334" y="5"/>
                  </a:lnTo>
                  <a:lnTo>
                    <a:pt x="1329" y="8"/>
                  </a:lnTo>
                  <a:lnTo>
                    <a:pt x="1326" y="8"/>
                  </a:lnTo>
                  <a:lnTo>
                    <a:pt x="1324" y="8"/>
                  </a:lnTo>
                  <a:lnTo>
                    <a:pt x="1324" y="10"/>
                  </a:lnTo>
                  <a:lnTo>
                    <a:pt x="1321" y="13"/>
                  </a:lnTo>
                  <a:lnTo>
                    <a:pt x="1319" y="13"/>
                  </a:lnTo>
                  <a:lnTo>
                    <a:pt x="1316" y="13"/>
                  </a:lnTo>
                  <a:lnTo>
                    <a:pt x="1311" y="15"/>
                  </a:lnTo>
                  <a:lnTo>
                    <a:pt x="1303" y="18"/>
                  </a:lnTo>
                  <a:lnTo>
                    <a:pt x="1301" y="20"/>
                  </a:lnTo>
                  <a:lnTo>
                    <a:pt x="1296" y="25"/>
                  </a:lnTo>
                  <a:lnTo>
                    <a:pt x="1293" y="30"/>
                  </a:lnTo>
                  <a:lnTo>
                    <a:pt x="1293" y="35"/>
                  </a:lnTo>
                  <a:lnTo>
                    <a:pt x="1293" y="38"/>
                  </a:lnTo>
                  <a:lnTo>
                    <a:pt x="1293" y="40"/>
                  </a:lnTo>
                  <a:lnTo>
                    <a:pt x="1291" y="40"/>
                  </a:lnTo>
                  <a:lnTo>
                    <a:pt x="1286" y="43"/>
                  </a:lnTo>
                  <a:lnTo>
                    <a:pt x="1281" y="43"/>
                  </a:lnTo>
                  <a:lnTo>
                    <a:pt x="1278" y="45"/>
                  </a:lnTo>
                  <a:lnTo>
                    <a:pt x="1276" y="48"/>
                  </a:lnTo>
                  <a:lnTo>
                    <a:pt x="1273" y="50"/>
                  </a:lnTo>
                  <a:lnTo>
                    <a:pt x="1271" y="53"/>
                  </a:lnTo>
                  <a:lnTo>
                    <a:pt x="1268" y="55"/>
                  </a:lnTo>
                  <a:lnTo>
                    <a:pt x="1266" y="58"/>
                  </a:lnTo>
                  <a:lnTo>
                    <a:pt x="1263" y="61"/>
                  </a:lnTo>
                  <a:lnTo>
                    <a:pt x="1261" y="66"/>
                  </a:lnTo>
                  <a:lnTo>
                    <a:pt x="1261" y="71"/>
                  </a:lnTo>
                  <a:lnTo>
                    <a:pt x="1266" y="76"/>
                  </a:lnTo>
                  <a:lnTo>
                    <a:pt x="1268" y="81"/>
                  </a:lnTo>
                  <a:lnTo>
                    <a:pt x="1271" y="86"/>
                  </a:lnTo>
                  <a:lnTo>
                    <a:pt x="1271" y="88"/>
                  </a:lnTo>
                  <a:lnTo>
                    <a:pt x="1268" y="91"/>
                  </a:lnTo>
                  <a:lnTo>
                    <a:pt x="1268" y="96"/>
                  </a:lnTo>
                  <a:lnTo>
                    <a:pt x="1266" y="96"/>
                  </a:lnTo>
                  <a:lnTo>
                    <a:pt x="1263" y="93"/>
                  </a:lnTo>
                  <a:lnTo>
                    <a:pt x="1261" y="88"/>
                  </a:lnTo>
                  <a:lnTo>
                    <a:pt x="1258" y="83"/>
                  </a:lnTo>
                  <a:lnTo>
                    <a:pt x="1256" y="78"/>
                  </a:lnTo>
                  <a:lnTo>
                    <a:pt x="1253" y="76"/>
                  </a:lnTo>
                  <a:lnTo>
                    <a:pt x="1250" y="78"/>
                  </a:lnTo>
                  <a:lnTo>
                    <a:pt x="1248" y="81"/>
                  </a:lnTo>
                  <a:lnTo>
                    <a:pt x="1245" y="86"/>
                  </a:lnTo>
                  <a:lnTo>
                    <a:pt x="1243" y="88"/>
                  </a:lnTo>
                  <a:lnTo>
                    <a:pt x="1240" y="93"/>
                  </a:lnTo>
                  <a:lnTo>
                    <a:pt x="1240" y="98"/>
                  </a:lnTo>
                  <a:lnTo>
                    <a:pt x="1238" y="108"/>
                  </a:lnTo>
                  <a:lnTo>
                    <a:pt x="1235" y="116"/>
                  </a:lnTo>
                  <a:lnTo>
                    <a:pt x="1235" y="121"/>
                  </a:lnTo>
                  <a:lnTo>
                    <a:pt x="1235" y="126"/>
                  </a:lnTo>
                  <a:lnTo>
                    <a:pt x="1238" y="131"/>
                  </a:lnTo>
                  <a:lnTo>
                    <a:pt x="1243" y="134"/>
                  </a:lnTo>
                  <a:lnTo>
                    <a:pt x="1245" y="134"/>
                  </a:lnTo>
                  <a:lnTo>
                    <a:pt x="1250" y="134"/>
                  </a:lnTo>
                  <a:lnTo>
                    <a:pt x="1253" y="136"/>
                  </a:lnTo>
                  <a:lnTo>
                    <a:pt x="1256" y="134"/>
                  </a:lnTo>
                  <a:lnTo>
                    <a:pt x="1258" y="134"/>
                  </a:lnTo>
                  <a:lnTo>
                    <a:pt x="1258" y="136"/>
                  </a:lnTo>
                  <a:lnTo>
                    <a:pt x="1256" y="141"/>
                  </a:lnTo>
                  <a:lnTo>
                    <a:pt x="1253" y="144"/>
                  </a:lnTo>
                  <a:lnTo>
                    <a:pt x="1253" y="146"/>
                  </a:lnTo>
                  <a:lnTo>
                    <a:pt x="1258" y="159"/>
                  </a:lnTo>
                  <a:close/>
                  <a:moveTo>
                    <a:pt x="1866" y="1003"/>
                  </a:moveTo>
                  <a:lnTo>
                    <a:pt x="1840" y="1024"/>
                  </a:lnTo>
                  <a:lnTo>
                    <a:pt x="1813" y="1067"/>
                  </a:lnTo>
                  <a:lnTo>
                    <a:pt x="1808" y="1082"/>
                  </a:lnTo>
                  <a:lnTo>
                    <a:pt x="1808" y="1102"/>
                  </a:lnTo>
                  <a:lnTo>
                    <a:pt x="1823" y="1097"/>
                  </a:lnTo>
                  <a:lnTo>
                    <a:pt x="1850" y="1102"/>
                  </a:lnTo>
                  <a:lnTo>
                    <a:pt x="1866" y="1112"/>
                  </a:lnTo>
                  <a:lnTo>
                    <a:pt x="1881" y="1107"/>
                  </a:lnTo>
                  <a:lnTo>
                    <a:pt x="1893" y="1122"/>
                  </a:lnTo>
                  <a:lnTo>
                    <a:pt x="1914" y="1117"/>
                  </a:lnTo>
                  <a:lnTo>
                    <a:pt x="1914" y="1097"/>
                  </a:lnTo>
                  <a:lnTo>
                    <a:pt x="1903" y="1072"/>
                  </a:lnTo>
                  <a:lnTo>
                    <a:pt x="1861" y="1051"/>
                  </a:lnTo>
                  <a:lnTo>
                    <a:pt x="1856" y="1041"/>
                  </a:lnTo>
                  <a:lnTo>
                    <a:pt x="1866" y="1019"/>
                  </a:lnTo>
                  <a:lnTo>
                    <a:pt x="1866" y="1003"/>
                  </a:lnTo>
                  <a:close/>
                  <a:moveTo>
                    <a:pt x="1258" y="247"/>
                  </a:moveTo>
                  <a:lnTo>
                    <a:pt x="1258" y="245"/>
                  </a:lnTo>
                  <a:lnTo>
                    <a:pt x="1256" y="245"/>
                  </a:lnTo>
                  <a:lnTo>
                    <a:pt x="1253" y="247"/>
                  </a:lnTo>
                  <a:lnTo>
                    <a:pt x="1258" y="247"/>
                  </a:lnTo>
                  <a:close/>
                  <a:moveTo>
                    <a:pt x="1238" y="219"/>
                  </a:moveTo>
                  <a:lnTo>
                    <a:pt x="1243" y="219"/>
                  </a:lnTo>
                  <a:lnTo>
                    <a:pt x="1250" y="224"/>
                  </a:lnTo>
                  <a:lnTo>
                    <a:pt x="1253" y="227"/>
                  </a:lnTo>
                  <a:lnTo>
                    <a:pt x="1256" y="227"/>
                  </a:lnTo>
                  <a:lnTo>
                    <a:pt x="1261" y="224"/>
                  </a:lnTo>
                  <a:lnTo>
                    <a:pt x="1266" y="224"/>
                  </a:lnTo>
                  <a:lnTo>
                    <a:pt x="1268" y="227"/>
                  </a:lnTo>
                  <a:lnTo>
                    <a:pt x="1271" y="229"/>
                  </a:lnTo>
                  <a:lnTo>
                    <a:pt x="1271" y="234"/>
                  </a:lnTo>
                  <a:lnTo>
                    <a:pt x="1273" y="237"/>
                  </a:lnTo>
                  <a:lnTo>
                    <a:pt x="1273" y="240"/>
                  </a:lnTo>
                  <a:lnTo>
                    <a:pt x="1273" y="245"/>
                  </a:lnTo>
                  <a:lnTo>
                    <a:pt x="1273" y="252"/>
                  </a:lnTo>
                  <a:lnTo>
                    <a:pt x="1273" y="257"/>
                  </a:lnTo>
                  <a:lnTo>
                    <a:pt x="1276" y="262"/>
                  </a:lnTo>
                  <a:lnTo>
                    <a:pt x="1281" y="265"/>
                  </a:lnTo>
                  <a:lnTo>
                    <a:pt x="1283" y="267"/>
                  </a:lnTo>
                  <a:lnTo>
                    <a:pt x="1288" y="270"/>
                  </a:lnTo>
                  <a:lnTo>
                    <a:pt x="1291" y="270"/>
                  </a:lnTo>
                  <a:lnTo>
                    <a:pt x="1296" y="270"/>
                  </a:lnTo>
                  <a:lnTo>
                    <a:pt x="1301" y="272"/>
                  </a:lnTo>
                  <a:lnTo>
                    <a:pt x="1306" y="272"/>
                  </a:lnTo>
                  <a:lnTo>
                    <a:pt x="1311" y="270"/>
                  </a:lnTo>
                  <a:lnTo>
                    <a:pt x="1313" y="270"/>
                  </a:lnTo>
                  <a:lnTo>
                    <a:pt x="1319" y="270"/>
                  </a:lnTo>
                  <a:lnTo>
                    <a:pt x="1321" y="267"/>
                  </a:lnTo>
                  <a:lnTo>
                    <a:pt x="1324" y="267"/>
                  </a:lnTo>
                  <a:lnTo>
                    <a:pt x="1329" y="267"/>
                  </a:lnTo>
                  <a:lnTo>
                    <a:pt x="1331" y="267"/>
                  </a:lnTo>
                  <a:lnTo>
                    <a:pt x="1336" y="267"/>
                  </a:lnTo>
                  <a:lnTo>
                    <a:pt x="1341" y="265"/>
                  </a:lnTo>
                  <a:lnTo>
                    <a:pt x="1344" y="265"/>
                  </a:lnTo>
                  <a:lnTo>
                    <a:pt x="1346" y="265"/>
                  </a:lnTo>
                  <a:lnTo>
                    <a:pt x="1349" y="260"/>
                  </a:lnTo>
                  <a:lnTo>
                    <a:pt x="1351" y="260"/>
                  </a:lnTo>
                  <a:lnTo>
                    <a:pt x="1354" y="260"/>
                  </a:lnTo>
                  <a:lnTo>
                    <a:pt x="1359" y="262"/>
                  </a:lnTo>
                  <a:lnTo>
                    <a:pt x="1364" y="262"/>
                  </a:lnTo>
                  <a:lnTo>
                    <a:pt x="1366" y="260"/>
                  </a:lnTo>
                  <a:lnTo>
                    <a:pt x="1371" y="260"/>
                  </a:lnTo>
                  <a:lnTo>
                    <a:pt x="1374" y="255"/>
                  </a:lnTo>
                  <a:lnTo>
                    <a:pt x="1379" y="252"/>
                  </a:lnTo>
                  <a:lnTo>
                    <a:pt x="1379" y="250"/>
                  </a:lnTo>
                  <a:lnTo>
                    <a:pt x="1379" y="245"/>
                  </a:lnTo>
                  <a:lnTo>
                    <a:pt x="1379" y="240"/>
                  </a:lnTo>
                  <a:lnTo>
                    <a:pt x="1377" y="234"/>
                  </a:lnTo>
                  <a:lnTo>
                    <a:pt x="1374" y="232"/>
                  </a:lnTo>
                  <a:lnTo>
                    <a:pt x="1371" y="229"/>
                  </a:lnTo>
                  <a:lnTo>
                    <a:pt x="1366" y="227"/>
                  </a:lnTo>
                  <a:lnTo>
                    <a:pt x="1361" y="224"/>
                  </a:lnTo>
                  <a:lnTo>
                    <a:pt x="1356" y="224"/>
                  </a:lnTo>
                  <a:lnTo>
                    <a:pt x="1354" y="222"/>
                  </a:lnTo>
                  <a:lnTo>
                    <a:pt x="1344" y="224"/>
                  </a:lnTo>
                  <a:lnTo>
                    <a:pt x="1341" y="224"/>
                  </a:lnTo>
                  <a:lnTo>
                    <a:pt x="1336" y="229"/>
                  </a:lnTo>
                  <a:lnTo>
                    <a:pt x="1334" y="232"/>
                  </a:lnTo>
                  <a:lnTo>
                    <a:pt x="1331" y="234"/>
                  </a:lnTo>
                  <a:lnTo>
                    <a:pt x="1326" y="240"/>
                  </a:lnTo>
                  <a:lnTo>
                    <a:pt x="1324" y="240"/>
                  </a:lnTo>
                  <a:lnTo>
                    <a:pt x="1321" y="240"/>
                  </a:lnTo>
                  <a:lnTo>
                    <a:pt x="1313" y="240"/>
                  </a:lnTo>
                  <a:lnTo>
                    <a:pt x="1306" y="240"/>
                  </a:lnTo>
                  <a:lnTo>
                    <a:pt x="1301" y="240"/>
                  </a:lnTo>
                  <a:lnTo>
                    <a:pt x="1298" y="237"/>
                  </a:lnTo>
                  <a:lnTo>
                    <a:pt x="1296" y="232"/>
                  </a:lnTo>
                  <a:lnTo>
                    <a:pt x="1293" y="227"/>
                  </a:lnTo>
                  <a:lnTo>
                    <a:pt x="1288" y="224"/>
                  </a:lnTo>
                  <a:lnTo>
                    <a:pt x="1286" y="217"/>
                  </a:lnTo>
                  <a:lnTo>
                    <a:pt x="1283" y="214"/>
                  </a:lnTo>
                  <a:lnTo>
                    <a:pt x="1283" y="212"/>
                  </a:lnTo>
                  <a:lnTo>
                    <a:pt x="1281" y="212"/>
                  </a:lnTo>
                  <a:lnTo>
                    <a:pt x="1238" y="219"/>
                  </a:lnTo>
                  <a:close/>
                  <a:moveTo>
                    <a:pt x="1271" y="217"/>
                  </a:moveTo>
                  <a:lnTo>
                    <a:pt x="1268" y="217"/>
                  </a:lnTo>
                  <a:lnTo>
                    <a:pt x="1271" y="217"/>
                  </a:lnTo>
                  <a:close/>
                  <a:moveTo>
                    <a:pt x="1404" y="1810"/>
                  </a:moveTo>
                  <a:lnTo>
                    <a:pt x="1404" y="1810"/>
                  </a:lnTo>
                  <a:lnTo>
                    <a:pt x="1404" y="1803"/>
                  </a:lnTo>
                  <a:lnTo>
                    <a:pt x="1402" y="1798"/>
                  </a:lnTo>
                  <a:lnTo>
                    <a:pt x="1399" y="1795"/>
                  </a:lnTo>
                  <a:lnTo>
                    <a:pt x="1404" y="1737"/>
                  </a:lnTo>
                  <a:lnTo>
                    <a:pt x="1377" y="1732"/>
                  </a:lnTo>
                  <a:lnTo>
                    <a:pt x="1346" y="1727"/>
                  </a:lnTo>
                  <a:lnTo>
                    <a:pt x="1339" y="1725"/>
                  </a:lnTo>
                  <a:lnTo>
                    <a:pt x="1331" y="1722"/>
                  </a:lnTo>
                  <a:lnTo>
                    <a:pt x="1329" y="1722"/>
                  </a:lnTo>
                  <a:lnTo>
                    <a:pt x="1316" y="1720"/>
                  </a:lnTo>
                  <a:lnTo>
                    <a:pt x="1308" y="1717"/>
                  </a:lnTo>
                  <a:lnTo>
                    <a:pt x="1308" y="1694"/>
                  </a:lnTo>
                  <a:lnTo>
                    <a:pt x="1303" y="1689"/>
                  </a:lnTo>
                  <a:lnTo>
                    <a:pt x="1321" y="1679"/>
                  </a:lnTo>
                  <a:lnTo>
                    <a:pt x="1336" y="1669"/>
                  </a:lnTo>
                  <a:lnTo>
                    <a:pt x="1346" y="1629"/>
                  </a:lnTo>
                  <a:lnTo>
                    <a:pt x="1283" y="1639"/>
                  </a:lnTo>
                  <a:lnTo>
                    <a:pt x="1258" y="1674"/>
                  </a:lnTo>
                  <a:lnTo>
                    <a:pt x="1215" y="1679"/>
                  </a:lnTo>
                  <a:lnTo>
                    <a:pt x="1172" y="1629"/>
                  </a:lnTo>
                  <a:lnTo>
                    <a:pt x="1167" y="1561"/>
                  </a:lnTo>
                  <a:lnTo>
                    <a:pt x="1180" y="1546"/>
                  </a:lnTo>
                  <a:lnTo>
                    <a:pt x="1177" y="1546"/>
                  </a:lnTo>
                  <a:lnTo>
                    <a:pt x="1177" y="1510"/>
                  </a:lnTo>
                  <a:lnTo>
                    <a:pt x="1200" y="1490"/>
                  </a:lnTo>
                  <a:lnTo>
                    <a:pt x="1215" y="1472"/>
                  </a:lnTo>
                  <a:lnTo>
                    <a:pt x="1268" y="1477"/>
                  </a:lnTo>
                  <a:lnTo>
                    <a:pt x="1298" y="1477"/>
                  </a:lnTo>
                  <a:lnTo>
                    <a:pt x="1341" y="1467"/>
                  </a:lnTo>
                  <a:lnTo>
                    <a:pt x="1366" y="1467"/>
                  </a:lnTo>
                  <a:lnTo>
                    <a:pt x="1392" y="1462"/>
                  </a:lnTo>
                  <a:lnTo>
                    <a:pt x="1399" y="1490"/>
                  </a:lnTo>
                  <a:lnTo>
                    <a:pt x="1409" y="1525"/>
                  </a:lnTo>
                  <a:lnTo>
                    <a:pt x="1442" y="1556"/>
                  </a:lnTo>
                  <a:lnTo>
                    <a:pt x="1457" y="1561"/>
                  </a:lnTo>
                  <a:lnTo>
                    <a:pt x="1452" y="1510"/>
                  </a:lnTo>
                  <a:lnTo>
                    <a:pt x="1429" y="1452"/>
                  </a:lnTo>
                  <a:lnTo>
                    <a:pt x="1457" y="1422"/>
                  </a:lnTo>
                  <a:lnTo>
                    <a:pt x="1482" y="1412"/>
                  </a:lnTo>
                  <a:lnTo>
                    <a:pt x="1530" y="1367"/>
                  </a:lnTo>
                  <a:lnTo>
                    <a:pt x="1525" y="1334"/>
                  </a:lnTo>
                  <a:lnTo>
                    <a:pt x="1520" y="1304"/>
                  </a:lnTo>
                  <a:lnTo>
                    <a:pt x="1535" y="1314"/>
                  </a:lnTo>
                  <a:lnTo>
                    <a:pt x="1540" y="1309"/>
                  </a:lnTo>
                  <a:lnTo>
                    <a:pt x="1535" y="1288"/>
                  </a:lnTo>
                  <a:lnTo>
                    <a:pt x="1545" y="1288"/>
                  </a:lnTo>
                  <a:lnTo>
                    <a:pt x="1561" y="1283"/>
                  </a:lnTo>
                  <a:lnTo>
                    <a:pt x="1571" y="1258"/>
                  </a:lnTo>
                  <a:lnTo>
                    <a:pt x="1593" y="1253"/>
                  </a:lnTo>
                  <a:lnTo>
                    <a:pt x="1624" y="1235"/>
                  </a:lnTo>
                  <a:lnTo>
                    <a:pt x="1624" y="1195"/>
                  </a:lnTo>
                  <a:lnTo>
                    <a:pt x="1677" y="1170"/>
                  </a:lnTo>
                  <a:lnTo>
                    <a:pt x="1666" y="1117"/>
                  </a:lnTo>
                  <a:lnTo>
                    <a:pt x="1677" y="1170"/>
                  </a:lnTo>
                  <a:lnTo>
                    <a:pt x="1699" y="1155"/>
                  </a:lnTo>
                  <a:lnTo>
                    <a:pt x="1714" y="1160"/>
                  </a:lnTo>
                  <a:lnTo>
                    <a:pt x="1704" y="1175"/>
                  </a:lnTo>
                  <a:lnTo>
                    <a:pt x="1714" y="1195"/>
                  </a:lnTo>
                  <a:lnTo>
                    <a:pt x="1760" y="1160"/>
                  </a:lnTo>
                  <a:lnTo>
                    <a:pt x="1777" y="1137"/>
                  </a:lnTo>
                  <a:lnTo>
                    <a:pt x="1729" y="1132"/>
                  </a:lnTo>
                  <a:lnTo>
                    <a:pt x="1709" y="1102"/>
                  </a:lnTo>
                  <a:lnTo>
                    <a:pt x="1724" y="1087"/>
                  </a:lnTo>
                  <a:lnTo>
                    <a:pt x="1729" y="1067"/>
                  </a:lnTo>
                  <a:lnTo>
                    <a:pt x="1656" y="1082"/>
                  </a:lnTo>
                  <a:lnTo>
                    <a:pt x="1619" y="1112"/>
                  </a:lnTo>
                  <a:lnTo>
                    <a:pt x="1636" y="1077"/>
                  </a:lnTo>
                  <a:lnTo>
                    <a:pt x="1671" y="1056"/>
                  </a:lnTo>
                  <a:lnTo>
                    <a:pt x="1692" y="1034"/>
                  </a:lnTo>
                  <a:lnTo>
                    <a:pt x="1755" y="1039"/>
                  </a:lnTo>
                  <a:lnTo>
                    <a:pt x="1803" y="1034"/>
                  </a:lnTo>
                  <a:lnTo>
                    <a:pt x="1840" y="1009"/>
                  </a:lnTo>
                  <a:lnTo>
                    <a:pt x="1866" y="988"/>
                  </a:lnTo>
                  <a:lnTo>
                    <a:pt x="1845" y="938"/>
                  </a:lnTo>
                  <a:lnTo>
                    <a:pt x="1840" y="910"/>
                  </a:lnTo>
                  <a:lnTo>
                    <a:pt x="1772" y="875"/>
                  </a:lnTo>
                  <a:lnTo>
                    <a:pt x="1772" y="855"/>
                  </a:lnTo>
                  <a:lnTo>
                    <a:pt x="1714" y="746"/>
                  </a:lnTo>
                  <a:lnTo>
                    <a:pt x="1699" y="792"/>
                  </a:lnTo>
                  <a:lnTo>
                    <a:pt x="1661" y="802"/>
                  </a:lnTo>
                  <a:lnTo>
                    <a:pt x="1651" y="792"/>
                  </a:lnTo>
                  <a:lnTo>
                    <a:pt x="1636" y="792"/>
                  </a:lnTo>
                  <a:lnTo>
                    <a:pt x="1636" y="719"/>
                  </a:lnTo>
                  <a:lnTo>
                    <a:pt x="1603" y="714"/>
                  </a:lnTo>
                  <a:lnTo>
                    <a:pt x="1578" y="678"/>
                  </a:lnTo>
                  <a:lnTo>
                    <a:pt x="1550" y="683"/>
                  </a:lnTo>
                  <a:lnTo>
                    <a:pt x="1520" y="673"/>
                  </a:lnTo>
                  <a:lnTo>
                    <a:pt x="1500" y="678"/>
                  </a:lnTo>
                  <a:lnTo>
                    <a:pt x="1500" y="703"/>
                  </a:lnTo>
                  <a:lnTo>
                    <a:pt x="1500" y="731"/>
                  </a:lnTo>
                  <a:lnTo>
                    <a:pt x="1495" y="787"/>
                  </a:lnTo>
                  <a:lnTo>
                    <a:pt x="1487" y="807"/>
                  </a:lnTo>
                  <a:lnTo>
                    <a:pt x="1520" y="870"/>
                  </a:lnTo>
                  <a:lnTo>
                    <a:pt x="1467" y="915"/>
                  </a:lnTo>
                  <a:lnTo>
                    <a:pt x="1477" y="993"/>
                  </a:lnTo>
                  <a:lnTo>
                    <a:pt x="1457" y="1009"/>
                  </a:lnTo>
                  <a:lnTo>
                    <a:pt x="1437" y="998"/>
                  </a:lnTo>
                  <a:lnTo>
                    <a:pt x="1424" y="905"/>
                  </a:lnTo>
                  <a:lnTo>
                    <a:pt x="1371" y="900"/>
                  </a:lnTo>
                  <a:lnTo>
                    <a:pt x="1273" y="845"/>
                  </a:lnTo>
                  <a:lnTo>
                    <a:pt x="1253" y="845"/>
                  </a:lnTo>
                  <a:lnTo>
                    <a:pt x="1235" y="797"/>
                  </a:lnTo>
                  <a:lnTo>
                    <a:pt x="1220" y="782"/>
                  </a:lnTo>
                  <a:lnTo>
                    <a:pt x="1263" y="658"/>
                  </a:lnTo>
                  <a:lnTo>
                    <a:pt x="1288" y="630"/>
                  </a:lnTo>
                  <a:lnTo>
                    <a:pt x="1316" y="615"/>
                  </a:lnTo>
                  <a:lnTo>
                    <a:pt x="1331" y="615"/>
                  </a:lnTo>
                  <a:lnTo>
                    <a:pt x="1346" y="565"/>
                  </a:lnTo>
                  <a:lnTo>
                    <a:pt x="1356" y="524"/>
                  </a:lnTo>
                  <a:lnTo>
                    <a:pt x="1409" y="512"/>
                  </a:lnTo>
                  <a:lnTo>
                    <a:pt x="1437" y="492"/>
                  </a:lnTo>
                  <a:lnTo>
                    <a:pt x="1419" y="446"/>
                  </a:lnTo>
                  <a:lnTo>
                    <a:pt x="1432" y="416"/>
                  </a:lnTo>
                  <a:lnTo>
                    <a:pt x="1412" y="393"/>
                  </a:lnTo>
                  <a:lnTo>
                    <a:pt x="1414" y="393"/>
                  </a:lnTo>
                  <a:lnTo>
                    <a:pt x="1417" y="391"/>
                  </a:lnTo>
                  <a:lnTo>
                    <a:pt x="1419" y="388"/>
                  </a:lnTo>
                  <a:lnTo>
                    <a:pt x="1422" y="388"/>
                  </a:lnTo>
                  <a:lnTo>
                    <a:pt x="1424" y="388"/>
                  </a:lnTo>
                  <a:lnTo>
                    <a:pt x="1432" y="388"/>
                  </a:lnTo>
                  <a:lnTo>
                    <a:pt x="1440" y="388"/>
                  </a:lnTo>
                  <a:lnTo>
                    <a:pt x="1442" y="386"/>
                  </a:lnTo>
                  <a:lnTo>
                    <a:pt x="1442" y="383"/>
                  </a:lnTo>
                  <a:lnTo>
                    <a:pt x="1437" y="376"/>
                  </a:lnTo>
                  <a:lnTo>
                    <a:pt x="1437" y="373"/>
                  </a:lnTo>
                  <a:lnTo>
                    <a:pt x="1440" y="373"/>
                  </a:lnTo>
                  <a:lnTo>
                    <a:pt x="1445" y="376"/>
                  </a:lnTo>
                  <a:lnTo>
                    <a:pt x="1452" y="378"/>
                  </a:lnTo>
                  <a:lnTo>
                    <a:pt x="1455" y="381"/>
                  </a:lnTo>
                  <a:lnTo>
                    <a:pt x="1457" y="383"/>
                  </a:lnTo>
                  <a:lnTo>
                    <a:pt x="1462" y="386"/>
                  </a:lnTo>
                  <a:lnTo>
                    <a:pt x="1467" y="388"/>
                  </a:lnTo>
                  <a:lnTo>
                    <a:pt x="1472" y="393"/>
                  </a:lnTo>
                  <a:lnTo>
                    <a:pt x="1477" y="396"/>
                  </a:lnTo>
                  <a:lnTo>
                    <a:pt x="1485" y="398"/>
                  </a:lnTo>
                  <a:lnTo>
                    <a:pt x="1490" y="401"/>
                  </a:lnTo>
                  <a:lnTo>
                    <a:pt x="1495" y="403"/>
                  </a:lnTo>
                  <a:lnTo>
                    <a:pt x="1500" y="406"/>
                  </a:lnTo>
                  <a:lnTo>
                    <a:pt x="1505" y="406"/>
                  </a:lnTo>
                  <a:lnTo>
                    <a:pt x="1510" y="411"/>
                  </a:lnTo>
                  <a:lnTo>
                    <a:pt x="1515" y="413"/>
                  </a:lnTo>
                  <a:lnTo>
                    <a:pt x="1523" y="419"/>
                  </a:lnTo>
                  <a:lnTo>
                    <a:pt x="1528" y="424"/>
                  </a:lnTo>
                  <a:lnTo>
                    <a:pt x="1535" y="431"/>
                  </a:lnTo>
                  <a:lnTo>
                    <a:pt x="1543" y="441"/>
                  </a:lnTo>
                  <a:lnTo>
                    <a:pt x="1545" y="449"/>
                  </a:lnTo>
                  <a:lnTo>
                    <a:pt x="1538" y="456"/>
                  </a:lnTo>
                  <a:lnTo>
                    <a:pt x="1530" y="466"/>
                  </a:lnTo>
                  <a:lnTo>
                    <a:pt x="1528" y="477"/>
                  </a:lnTo>
                  <a:lnTo>
                    <a:pt x="1530" y="479"/>
                  </a:lnTo>
                  <a:lnTo>
                    <a:pt x="1538" y="482"/>
                  </a:lnTo>
                  <a:lnTo>
                    <a:pt x="1543" y="487"/>
                  </a:lnTo>
                  <a:lnTo>
                    <a:pt x="1545" y="489"/>
                  </a:lnTo>
                  <a:lnTo>
                    <a:pt x="1543" y="494"/>
                  </a:lnTo>
                  <a:lnTo>
                    <a:pt x="1535" y="499"/>
                  </a:lnTo>
                  <a:lnTo>
                    <a:pt x="1528" y="504"/>
                  </a:lnTo>
                  <a:lnTo>
                    <a:pt x="1525" y="509"/>
                  </a:lnTo>
                  <a:lnTo>
                    <a:pt x="1520" y="509"/>
                  </a:lnTo>
                  <a:lnTo>
                    <a:pt x="1518" y="509"/>
                  </a:lnTo>
                  <a:lnTo>
                    <a:pt x="1515" y="509"/>
                  </a:lnTo>
                  <a:lnTo>
                    <a:pt x="1513" y="509"/>
                  </a:lnTo>
                  <a:lnTo>
                    <a:pt x="1508" y="512"/>
                  </a:lnTo>
                  <a:lnTo>
                    <a:pt x="1500" y="514"/>
                  </a:lnTo>
                  <a:lnTo>
                    <a:pt x="1495" y="519"/>
                  </a:lnTo>
                  <a:lnTo>
                    <a:pt x="1492" y="522"/>
                  </a:lnTo>
                  <a:lnTo>
                    <a:pt x="1492" y="524"/>
                  </a:lnTo>
                  <a:lnTo>
                    <a:pt x="1495" y="527"/>
                  </a:lnTo>
                  <a:lnTo>
                    <a:pt x="1498" y="529"/>
                  </a:lnTo>
                  <a:lnTo>
                    <a:pt x="1500" y="532"/>
                  </a:lnTo>
                  <a:lnTo>
                    <a:pt x="1503" y="535"/>
                  </a:lnTo>
                  <a:lnTo>
                    <a:pt x="1508" y="537"/>
                  </a:lnTo>
                  <a:lnTo>
                    <a:pt x="1513" y="540"/>
                  </a:lnTo>
                  <a:lnTo>
                    <a:pt x="1518" y="540"/>
                  </a:lnTo>
                  <a:lnTo>
                    <a:pt x="1523" y="537"/>
                  </a:lnTo>
                  <a:lnTo>
                    <a:pt x="1528" y="532"/>
                  </a:lnTo>
                  <a:lnTo>
                    <a:pt x="1530" y="529"/>
                  </a:lnTo>
                  <a:lnTo>
                    <a:pt x="1535" y="527"/>
                  </a:lnTo>
                  <a:lnTo>
                    <a:pt x="1540" y="527"/>
                  </a:lnTo>
                  <a:lnTo>
                    <a:pt x="1548" y="524"/>
                  </a:lnTo>
                  <a:lnTo>
                    <a:pt x="1556" y="519"/>
                  </a:lnTo>
                  <a:lnTo>
                    <a:pt x="1561" y="519"/>
                  </a:lnTo>
                  <a:lnTo>
                    <a:pt x="1563" y="519"/>
                  </a:lnTo>
                  <a:lnTo>
                    <a:pt x="1566" y="522"/>
                  </a:lnTo>
                  <a:lnTo>
                    <a:pt x="1568" y="524"/>
                  </a:lnTo>
                  <a:lnTo>
                    <a:pt x="1571" y="524"/>
                  </a:lnTo>
                  <a:lnTo>
                    <a:pt x="1573" y="527"/>
                  </a:lnTo>
                  <a:lnTo>
                    <a:pt x="1576" y="529"/>
                  </a:lnTo>
                  <a:lnTo>
                    <a:pt x="1578" y="529"/>
                  </a:lnTo>
                  <a:lnTo>
                    <a:pt x="1583" y="532"/>
                  </a:lnTo>
                  <a:lnTo>
                    <a:pt x="1588" y="532"/>
                  </a:lnTo>
                  <a:lnTo>
                    <a:pt x="1593" y="535"/>
                  </a:lnTo>
                  <a:lnTo>
                    <a:pt x="1603" y="535"/>
                  </a:lnTo>
                  <a:lnTo>
                    <a:pt x="1606" y="540"/>
                  </a:lnTo>
                  <a:lnTo>
                    <a:pt x="1606" y="542"/>
                  </a:lnTo>
                  <a:lnTo>
                    <a:pt x="1608" y="547"/>
                  </a:lnTo>
                  <a:lnTo>
                    <a:pt x="1611" y="547"/>
                  </a:lnTo>
                  <a:lnTo>
                    <a:pt x="1616" y="550"/>
                  </a:lnTo>
                  <a:lnTo>
                    <a:pt x="1619" y="550"/>
                  </a:lnTo>
                  <a:lnTo>
                    <a:pt x="1621" y="550"/>
                  </a:lnTo>
                  <a:lnTo>
                    <a:pt x="1624" y="547"/>
                  </a:lnTo>
                  <a:lnTo>
                    <a:pt x="1629" y="547"/>
                  </a:lnTo>
                  <a:lnTo>
                    <a:pt x="1631" y="547"/>
                  </a:lnTo>
                  <a:lnTo>
                    <a:pt x="1634" y="547"/>
                  </a:lnTo>
                  <a:lnTo>
                    <a:pt x="1639" y="547"/>
                  </a:lnTo>
                  <a:lnTo>
                    <a:pt x="1641" y="547"/>
                  </a:lnTo>
                  <a:lnTo>
                    <a:pt x="1644" y="550"/>
                  </a:lnTo>
                  <a:lnTo>
                    <a:pt x="1649" y="550"/>
                  </a:lnTo>
                  <a:lnTo>
                    <a:pt x="1651" y="550"/>
                  </a:lnTo>
                  <a:lnTo>
                    <a:pt x="1654" y="547"/>
                  </a:lnTo>
                  <a:lnTo>
                    <a:pt x="1659" y="547"/>
                  </a:lnTo>
                  <a:lnTo>
                    <a:pt x="1664" y="547"/>
                  </a:lnTo>
                  <a:lnTo>
                    <a:pt x="1669" y="545"/>
                  </a:lnTo>
                  <a:lnTo>
                    <a:pt x="1671" y="545"/>
                  </a:lnTo>
                  <a:lnTo>
                    <a:pt x="1674" y="545"/>
                  </a:lnTo>
                  <a:lnTo>
                    <a:pt x="1679" y="545"/>
                  </a:lnTo>
                  <a:lnTo>
                    <a:pt x="1682" y="545"/>
                  </a:lnTo>
                  <a:lnTo>
                    <a:pt x="1684" y="545"/>
                  </a:lnTo>
                  <a:lnTo>
                    <a:pt x="1687" y="545"/>
                  </a:lnTo>
                  <a:lnTo>
                    <a:pt x="1692" y="545"/>
                  </a:lnTo>
                  <a:lnTo>
                    <a:pt x="1697" y="545"/>
                  </a:lnTo>
                  <a:lnTo>
                    <a:pt x="1699" y="542"/>
                  </a:lnTo>
                  <a:lnTo>
                    <a:pt x="1697" y="540"/>
                  </a:lnTo>
                  <a:lnTo>
                    <a:pt x="1697" y="537"/>
                  </a:lnTo>
                  <a:lnTo>
                    <a:pt x="1692" y="535"/>
                  </a:lnTo>
                  <a:lnTo>
                    <a:pt x="1687" y="532"/>
                  </a:lnTo>
                  <a:lnTo>
                    <a:pt x="1679" y="529"/>
                  </a:lnTo>
                  <a:lnTo>
                    <a:pt x="1677" y="529"/>
                  </a:lnTo>
                  <a:lnTo>
                    <a:pt x="1674" y="527"/>
                  </a:lnTo>
                  <a:lnTo>
                    <a:pt x="1671" y="524"/>
                  </a:lnTo>
                  <a:lnTo>
                    <a:pt x="1669" y="524"/>
                  </a:lnTo>
                  <a:lnTo>
                    <a:pt x="1666" y="524"/>
                  </a:lnTo>
                  <a:lnTo>
                    <a:pt x="1664" y="524"/>
                  </a:lnTo>
                  <a:lnTo>
                    <a:pt x="1661" y="524"/>
                  </a:lnTo>
                  <a:lnTo>
                    <a:pt x="1656" y="522"/>
                  </a:lnTo>
                  <a:lnTo>
                    <a:pt x="1651" y="519"/>
                  </a:lnTo>
                  <a:lnTo>
                    <a:pt x="1641" y="517"/>
                  </a:lnTo>
                  <a:lnTo>
                    <a:pt x="1636" y="514"/>
                  </a:lnTo>
                  <a:lnTo>
                    <a:pt x="1634" y="512"/>
                  </a:lnTo>
                  <a:lnTo>
                    <a:pt x="1634" y="509"/>
                  </a:lnTo>
                  <a:lnTo>
                    <a:pt x="1636" y="509"/>
                  </a:lnTo>
                  <a:lnTo>
                    <a:pt x="1639" y="509"/>
                  </a:lnTo>
                  <a:lnTo>
                    <a:pt x="1644" y="509"/>
                  </a:lnTo>
                  <a:lnTo>
                    <a:pt x="1649" y="512"/>
                  </a:lnTo>
                  <a:lnTo>
                    <a:pt x="1651" y="512"/>
                  </a:lnTo>
                  <a:lnTo>
                    <a:pt x="1656" y="514"/>
                  </a:lnTo>
                  <a:lnTo>
                    <a:pt x="1659" y="514"/>
                  </a:lnTo>
                  <a:lnTo>
                    <a:pt x="1664" y="514"/>
                  </a:lnTo>
                  <a:lnTo>
                    <a:pt x="1666" y="519"/>
                  </a:lnTo>
                  <a:lnTo>
                    <a:pt x="1671" y="519"/>
                  </a:lnTo>
                  <a:lnTo>
                    <a:pt x="1677" y="517"/>
                  </a:lnTo>
                  <a:lnTo>
                    <a:pt x="1687" y="514"/>
                  </a:lnTo>
                  <a:lnTo>
                    <a:pt x="1694" y="514"/>
                  </a:lnTo>
                  <a:lnTo>
                    <a:pt x="1697" y="519"/>
                  </a:lnTo>
                  <a:lnTo>
                    <a:pt x="1699" y="519"/>
                  </a:lnTo>
                  <a:lnTo>
                    <a:pt x="1704" y="522"/>
                  </a:lnTo>
                  <a:lnTo>
                    <a:pt x="1707" y="524"/>
                  </a:lnTo>
                  <a:lnTo>
                    <a:pt x="1707" y="522"/>
                  </a:lnTo>
                  <a:lnTo>
                    <a:pt x="1704" y="519"/>
                  </a:lnTo>
                  <a:lnTo>
                    <a:pt x="1702" y="514"/>
                  </a:lnTo>
                  <a:lnTo>
                    <a:pt x="1699" y="514"/>
                  </a:lnTo>
                  <a:lnTo>
                    <a:pt x="1699" y="509"/>
                  </a:lnTo>
                  <a:lnTo>
                    <a:pt x="1697" y="507"/>
                  </a:lnTo>
                  <a:lnTo>
                    <a:pt x="1694" y="502"/>
                  </a:lnTo>
                  <a:lnTo>
                    <a:pt x="1692" y="494"/>
                  </a:lnTo>
                  <a:lnTo>
                    <a:pt x="1692" y="492"/>
                  </a:lnTo>
                  <a:lnTo>
                    <a:pt x="1692" y="489"/>
                  </a:lnTo>
                  <a:lnTo>
                    <a:pt x="1692" y="487"/>
                  </a:lnTo>
                  <a:lnTo>
                    <a:pt x="1689" y="482"/>
                  </a:lnTo>
                  <a:lnTo>
                    <a:pt x="1682" y="479"/>
                  </a:lnTo>
                  <a:lnTo>
                    <a:pt x="1677" y="479"/>
                  </a:lnTo>
                  <a:lnTo>
                    <a:pt x="1671" y="477"/>
                  </a:lnTo>
                  <a:lnTo>
                    <a:pt x="1669" y="471"/>
                  </a:lnTo>
                  <a:lnTo>
                    <a:pt x="1664" y="469"/>
                  </a:lnTo>
                  <a:lnTo>
                    <a:pt x="1659" y="469"/>
                  </a:lnTo>
                  <a:lnTo>
                    <a:pt x="1651" y="466"/>
                  </a:lnTo>
                  <a:lnTo>
                    <a:pt x="1646" y="466"/>
                  </a:lnTo>
                  <a:lnTo>
                    <a:pt x="1644" y="466"/>
                  </a:lnTo>
                  <a:lnTo>
                    <a:pt x="1639" y="464"/>
                  </a:lnTo>
                  <a:lnTo>
                    <a:pt x="1634" y="461"/>
                  </a:lnTo>
                  <a:lnTo>
                    <a:pt x="1631" y="459"/>
                  </a:lnTo>
                  <a:lnTo>
                    <a:pt x="1626" y="459"/>
                  </a:lnTo>
                  <a:lnTo>
                    <a:pt x="1624" y="454"/>
                  </a:lnTo>
                  <a:lnTo>
                    <a:pt x="1621" y="451"/>
                  </a:lnTo>
                  <a:lnTo>
                    <a:pt x="1616" y="446"/>
                  </a:lnTo>
                  <a:lnTo>
                    <a:pt x="1614" y="441"/>
                  </a:lnTo>
                  <a:lnTo>
                    <a:pt x="1611" y="439"/>
                  </a:lnTo>
                  <a:lnTo>
                    <a:pt x="1611" y="434"/>
                  </a:lnTo>
                  <a:lnTo>
                    <a:pt x="1614" y="431"/>
                  </a:lnTo>
                  <a:lnTo>
                    <a:pt x="1619" y="431"/>
                  </a:lnTo>
                  <a:lnTo>
                    <a:pt x="1624" y="431"/>
                  </a:lnTo>
                  <a:lnTo>
                    <a:pt x="1631" y="434"/>
                  </a:lnTo>
                  <a:lnTo>
                    <a:pt x="1636" y="436"/>
                  </a:lnTo>
                  <a:lnTo>
                    <a:pt x="1639" y="436"/>
                  </a:lnTo>
                  <a:lnTo>
                    <a:pt x="1644" y="439"/>
                  </a:lnTo>
                  <a:lnTo>
                    <a:pt x="1649" y="441"/>
                  </a:lnTo>
                  <a:lnTo>
                    <a:pt x="1654" y="444"/>
                  </a:lnTo>
                  <a:lnTo>
                    <a:pt x="1659" y="446"/>
                  </a:lnTo>
                  <a:lnTo>
                    <a:pt x="1664" y="449"/>
                  </a:lnTo>
                  <a:lnTo>
                    <a:pt x="1669" y="451"/>
                  </a:lnTo>
                  <a:lnTo>
                    <a:pt x="1671" y="451"/>
                  </a:lnTo>
                  <a:lnTo>
                    <a:pt x="1677" y="449"/>
                  </a:lnTo>
                  <a:lnTo>
                    <a:pt x="1679" y="444"/>
                  </a:lnTo>
                  <a:lnTo>
                    <a:pt x="1679" y="441"/>
                  </a:lnTo>
                  <a:lnTo>
                    <a:pt x="1677" y="436"/>
                  </a:lnTo>
                  <a:lnTo>
                    <a:pt x="1671" y="434"/>
                  </a:lnTo>
                  <a:lnTo>
                    <a:pt x="1666" y="431"/>
                  </a:lnTo>
                  <a:lnTo>
                    <a:pt x="1666" y="429"/>
                  </a:lnTo>
                  <a:lnTo>
                    <a:pt x="1666" y="426"/>
                  </a:lnTo>
                  <a:lnTo>
                    <a:pt x="1669" y="424"/>
                  </a:lnTo>
                  <a:lnTo>
                    <a:pt x="1671" y="424"/>
                  </a:lnTo>
                  <a:lnTo>
                    <a:pt x="1674" y="421"/>
                  </a:lnTo>
                  <a:lnTo>
                    <a:pt x="1677" y="419"/>
                  </a:lnTo>
                  <a:lnTo>
                    <a:pt x="1677" y="416"/>
                  </a:lnTo>
                  <a:lnTo>
                    <a:pt x="1674" y="413"/>
                  </a:lnTo>
                  <a:lnTo>
                    <a:pt x="1671" y="408"/>
                  </a:lnTo>
                  <a:lnTo>
                    <a:pt x="1669" y="406"/>
                  </a:lnTo>
                  <a:lnTo>
                    <a:pt x="1664" y="406"/>
                  </a:lnTo>
                  <a:lnTo>
                    <a:pt x="1664" y="403"/>
                  </a:lnTo>
                  <a:lnTo>
                    <a:pt x="1669" y="401"/>
                  </a:lnTo>
                  <a:lnTo>
                    <a:pt x="1674" y="398"/>
                  </a:lnTo>
                  <a:lnTo>
                    <a:pt x="1677" y="393"/>
                  </a:lnTo>
                  <a:lnTo>
                    <a:pt x="1674" y="391"/>
                  </a:lnTo>
                  <a:lnTo>
                    <a:pt x="1669" y="388"/>
                  </a:lnTo>
                  <a:lnTo>
                    <a:pt x="1661" y="386"/>
                  </a:lnTo>
                  <a:lnTo>
                    <a:pt x="1654" y="386"/>
                  </a:lnTo>
                  <a:lnTo>
                    <a:pt x="1649" y="386"/>
                  </a:lnTo>
                  <a:lnTo>
                    <a:pt x="1644" y="386"/>
                  </a:lnTo>
                  <a:lnTo>
                    <a:pt x="1639" y="388"/>
                  </a:lnTo>
                  <a:lnTo>
                    <a:pt x="1636" y="388"/>
                  </a:lnTo>
                  <a:lnTo>
                    <a:pt x="1634" y="388"/>
                  </a:lnTo>
                  <a:lnTo>
                    <a:pt x="1631" y="386"/>
                  </a:lnTo>
                  <a:lnTo>
                    <a:pt x="1634" y="383"/>
                  </a:lnTo>
                  <a:lnTo>
                    <a:pt x="1631" y="383"/>
                  </a:lnTo>
                  <a:lnTo>
                    <a:pt x="1629" y="381"/>
                  </a:lnTo>
                  <a:lnTo>
                    <a:pt x="1626" y="381"/>
                  </a:lnTo>
                  <a:lnTo>
                    <a:pt x="1621" y="381"/>
                  </a:lnTo>
                  <a:lnTo>
                    <a:pt x="1616" y="381"/>
                  </a:lnTo>
                  <a:lnTo>
                    <a:pt x="1611" y="378"/>
                  </a:lnTo>
                  <a:lnTo>
                    <a:pt x="1606" y="378"/>
                  </a:lnTo>
                  <a:lnTo>
                    <a:pt x="1603" y="378"/>
                  </a:lnTo>
                  <a:lnTo>
                    <a:pt x="1598" y="376"/>
                  </a:lnTo>
                  <a:lnTo>
                    <a:pt x="1598" y="378"/>
                  </a:lnTo>
                  <a:lnTo>
                    <a:pt x="1601" y="381"/>
                  </a:lnTo>
                  <a:lnTo>
                    <a:pt x="1603" y="386"/>
                  </a:lnTo>
                  <a:lnTo>
                    <a:pt x="1601" y="386"/>
                  </a:lnTo>
                  <a:lnTo>
                    <a:pt x="1596" y="386"/>
                  </a:lnTo>
                  <a:lnTo>
                    <a:pt x="1591" y="381"/>
                  </a:lnTo>
                  <a:lnTo>
                    <a:pt x="1583" y="376"/>
                  </a:lnTo>
                  <a:lnTo>
                    <a:pt x="1578" y="373"/>
                  </a:lnTo>
                  <a:lnTo>
                    <a:pt x="1576" y="373"/>
                  </a:lnTo>
                  <a:lnTo>
                    <a:pt x="1568" y="376"/>
                  </a:lnTo>
                  <a:lnTo>
                    <a:pt x="1563" y="373"/>
                  </a:lnTo>
                  <a:lnTo>
                    <a:pt x="1558" y="371"/>
                  </a:lnTo>
                  <a:lnTo>
                    <a:pt x="1558" y="366"/>
                  </a:lnTo>
                  <a:lnTo>
                    <a:pt x="1561" y="363"/>
                  </a:lnTo>
                  <a:lnTo>
                    <a:pt x="1561" y="361"/>
                  </a:lnTo>
                  <a:lnTo>
                    <a:pt x="1561" y="358"/>
                  </a:lnTo>
                  <a:lnTo>
                    <a:pt x="1563" y="356"/>
                  </a:lnTo>
                  <a:lnTo>
                    <a:pt x="1566" y="356"/>
                  </a:lnTo>
                  <a:lnTo>
                    <a:pt x="1568" y="356"/>
                  </a:lnTo>
                  <a:lnTo>
                    <a:pt x="1568" y="353"/>
                  </a:lnTo>
                  <a:lnTo>
                    <a:pt x="1561" y="350"/>
                  </a:lnTo>
                  <a:lnTo>
                    <a:pt x="1556" y="350"/>
                  </a:lnTo>
                  <a:lnTo>
                    <a:pt x="1553" y="345"/>
                  </a:lnTo>
                  <a:lnTo>
                    <a:pt x="1556" y="343"/>
                  </a:lnTo>
                  <a:lnTo>
                    <a:pt x="1561" y="343"/>
                  </a:lnTo>
                  <a:lnTo>
                    <a:pt x="1558" y="343"/>
                  </a:lnTo>
                  <a:lnTo>
                    <a:pt x="1556" y="340"/>
                  </a:lnTo>
                  <a:lnTo>
                    <a:pt x="1553" y="335"/>
                  </a:lnTo>
                  <a:lnTo>
                    <a:pt x="1548" y="333"/>
                  </a:lnTo>
                  <a:lnTo>
                    <a:pt x="1545" y="333"/>
                  </a:lnTo>
                  <a:lnTo>
                    <a:pt x="1540" y="333"/>
                  </a:lnTo>
                  <a:lnTo>
                    <a:pt x="1538" y="333"/>
                  </a:lnTo>
                  <a:lnTo>
                    <a:pt x="1540" y="330"/>
                  </a:lnTo>
                  <a:lnTo>
                    <a:pt x="1540" y="328"/>
                  </a:lnTo>
                  <a:lnTo>
                    <a:pt x="1538" y="325"/>
                  </a:lnTo>
                  <a:lnTo>
                    <a:pt x="1533" y="325"/>
                  </a:lnTo>
                  <a:lnTo>
                    <a:pt x="1528" y="325"/>
                  </a:lnTo>
                  <a:lnTo>
                    <a:pt x="1520" y="325"/>
                  </a:lnTo>
                  <a:lnTo>
                    <a:pt x="1515" y="325"/>
                  </a:lnTo>
                  <a:lnTo>
                    <a:pt x="1510" y="325"/>
                  </a:lnTo>
                  <a:lnTo>
                    <a:pt x="1503" y="323"/>
                  </a:lnTo>
                  <a:lnTo>
                    <a:pt x="1500" y="323"/>
                  </a:lnTo>
                  <a:lnTo>
                    <a:pt x="1500" y="320"/>
                  </a:lnTo>
                  <a:lnTo>
                    <a:pt x="1498" y="318"/>
                  </a:lnTo>
                  <a:lnTo>
                    <a:pt x="1492" y="315"/>
                  </a:lnTo>
                  <a:lnTo>
                    <a:pt x="1485" y="315"/>
                  </a:lnTo>
                  <a:lnTo>
                    <a:pt x="1480" y="318"/>
                  </a:lnTo>
                  <a:lnTo>
                    <a:pt x="1475" y="323"/>
                  </a:lnTo>
                  <a:lnTo>
                    <a:pt x="1472" y="325"/>
                  </a:lnTo>
                  <a:lnTo>
                    <a:pt x="1467" y="325"/>
                  </a:lnTo>
                  <a:lnTo>
                    <a:pt x="1462" y="320"/>
                  </a:lnTo>
                  <a:lnTo>
                    <a:pt x="1460" y="318"/>
                  </a:lnTo>
                  <a:lnTo>
                    <a:pt x="1457" y="313"/>
                  </a:lnTo>
                  <a:lnTo>
                    <a:pt x="1455" y="310"/>
                  </a:lnTo>
                  <a:lnTo>
                    <a:pt x="1450" y="305"/>
                  </a:lnTo>
                  <a:lnTo>
                    <a:pt x="1442" y="300"/>
                  </a:lnTo>
                  <a:lnTo>
                    <a:pt x="1435" y="298"/>
                  </a:lnTo>
                  <a:lnTo>
                    <a:pt x="1429" y="298"/>
                  </a:lnTo>
                  <a:lnTo>
                    <a:pt x="1427" y="300"/>
                  </a:lnTo>
                  <a:lnTo>
                    <a:pt x="1419" y="303"/>
                  </a:lnTo>
                  <a:lnTo>
                    <a:pt x="1414" y="305"/>
                  </a:lnTo>
                  <a:lnTo>
                    <a:pt x="1414" y="308"/>
                  </a:lnTo>
                  <a:lnTo>
                    <a:pt x="1414" y="313"/>
                  </a:lnTo>
                  <a:lnTo>
                    <a:pt x="1409" y="315"/>
                  </a:lnTo>
                  <a:lnTo>
                    <a:pt x="1404" y="320"/>
                  </a:lnTo>
                  <a:lnTo>
                    <a:pt x="1397" y="320"/>
                  </a:lnTo>
                  <a:lnTo>
                    <a:pt x="1394" y="320"/>
                  </a:lnTo>
                  <a:lnTo>
                    <a:pt x="1392" y="315"/>
                  </a:lnTo>
                  <a:lnTo>
                    <a:pt x="1392" y="310"/>
                  </a:lnTo>
                  <a:lnTo>
                    <a:pt x="1389" y="305"/>
                  </a:lnTo>
                  <a:lnTo>
                    <a:pt x="1389" y="303"/>
                  </a:lnTo>
                  <a:lnTo>
                    <a:pt x="1387" y="298"/>
                  </a:lnTo>
                  <a:lnTo>
                    <a:pt x="1384" y="292"/>
                  </a:lnTo>
                  <a:lnTo>
                    <a:pt x="1382" y="290"/>
                  </a:lnTo>
                  <a:lnTo>
                    <a:pt x="1374" y="285"/>
                  </a:lnTo>
                  <a:lnTo>
                    <a:pt x="1366" y="285"/>
                  </a:lnTo>
                  <a:lnTo>
                    <a:pt x="1359" y="287"/>
                  </a:lnTo>
                  <a:lnTo>
                    <a:pt x="1354" y="292"/>
                  </a:lnTo>
                  <a:lnTo>
                    <a:pt x="1351" y="303"/>
                  </a:lnTo>
                  <a:lnTo>
                    <a:pt x="1349" y="313"/>
                  </a:lnTo>
                  <a:lnTo>
                    <a:pt x="1349" y="325"/>
                  </a:lnTo>
                  <a:lnTo>
                    <a:pt x="1354" y="343"/>
                  </a:lnTo>
                  <a:lnTo>
                    <a:pt x="1359" y="356"/>
                  </a:lnTo>
                  <a:lnTo>
                    <a:pt x="1356" y="353"/>
                  </a:lnTo>
                  <a:lnTo>
                    <a:pt x="1354" y="350"/>
                  </a:lnTo>
                  <a:lnTo>
                    <a:pt x="1349" y="345"/>
                  </a:lnTo>
                  <a:lnTo>
                    <a:pt x="1344" y="338"/>
                  </a:lnTo>
                  <a:lnTo>
                    <a:pt x="1341" y="330"/>
                  </a:lnTo>
                  <a:lnTo>
                    <a:pt x="1339" y="323"/>
                  </a:lnTo>
                  <a:lnTo>
                    <a:pt x="1339" y="310"/>
                  </a:lnTo>
                  <a:lnTo>
                    <a:pt x="1344" y="298"/>
                  </a:lnTo>
                  <a:lnTo>
                    <a:pt x="1344" y="290"/>
                  </a:lnTo>
                  <a:lnTo>
                    <a:pt x="1341" y="287"/>
                  </a:lnTo>
                  <a:lnTo>
                    <a:pt x="1336" y="287"/>
                  </a:lnTo>
                  <a:lnTo>
                    <a:pt x="1331" y="287"/>
                  </a:lnTo>
                  <a:lnTo>
                    <a:pt x="1324" y="290"/>
                  </a:lnTo>
                  <a:lnTo>
                    <a:pt x="1316" y="298"/>
                  </a:lnTo>
                  <a:lnTo>
                    <a:pt x="1311" y="310"/>
                  </a:lnTo>
                  <a:lnTo>
                    <a:pt x="1308" y="325"/>
                  </a:lnTo>
                  <a:lnTo>
                    <a:pt x="1308" y="335"/>
                  </a:lnTo>
                  <a:lnTo>
                    <a:pt x="1308" y="340"/>
                  </a:lnTo>
                  <a:lnTo>
                    <a:pt x="1308" y="345"/>
                  </a:lnTo>
                  <a:lnTo>
                    <a:pt x="1308" y="356"/>
                  </a:lnTo>
                  <a:lnTo>
                    <a:pt x="1308" y="361"/>
                  </a:lnTo>
                  <a:lnTo>
                    <a:pt x="1311" y="363"/>
                  </a:lnTo>
                  <a:lnTo>
                    <a:pt x="1316" y="366"/>
                  </a:lnTo>
                  <a:lnTo>
                    <a:pt x="1319" y="366"/>
                  </a:lnTo>
                  <a:lnTo>
                    <a:pt x="1321" y="366"/>
                  </a:lnTo>
                  <a:lnTo>
                    <a:pt x="1329" y="368"/>
                  </a:lnTo>
                  <a:lnTo>
                    <a:pt x="1334" y="371"/>
                  </a:lnTo>
                  <a:lnTo>
                    <a:pt x="1339" y="371"/>
                  </a:lnTo>
                  <a:lnTo>
                    <a:pt x="1341" y="373"/>
                  </a:lnTo>
                  <a:lnTo>
                    <a:pt x="1339" y="376"/>
                  </a:lnTo>
                  <a:lnTo>
                    <a:pt x="1334" y="376"/>
                  </a:lnTo>
                  <a:lnTo>
                    <a:pt x="1331" y="376"/>
                  </a:lnTo>
                  <a:lnTo>
                    <a:pt x="1326" y="376"/>
                  </a:lnTo>
                  <a:lnTo>
                    <a:pt x="1321" y="378"/>
                  </a:lnTo>
                  <a:lnTo>
                    <a:pt x="1316" y="381"/>
                  </a:lnTo>
                  <a:lnTo>
                    <a:pt x="1316" y="383"/>
                  </a:lnTo>
                  <a:lnTo>
                    <a:pt x="1319" y="386"/>
                  </a:lnTo>
                  <a:lnTo>
                    <a:pt x="1321" y="386"/>
                  </a:lnTo>
                  <a:lnTo>
                    <a:pt x="1326" y="388"/>
                  </a:lnTo>
                  <a:lnTo>
                    <a:pt x="1331" y="391"/>
                  </a:lnTo>
                  <a:lnTo>
                    <a:pt x="1334" y="393"/>
                  </a:lnTo>
                  <a:lnTo>
                    <a:pt x="1339" y="396"/>
                  </a:lnTo>
                  <a:lnTo>
                    <a:pt x="1341" y="396"/>
                  </a:lnTo>
                  <a:lnTo>
                    <a:pt x="1346" y="396"/>
                  </a:lnTo>
                  <a:lnTo>
                    <a:pt x="1351" y="393"/>
                  </a:lnTo>
                  <a:lnTo>
                    <a:pt x="1356" y="391"/>
                  </a:lnTo>
                  <a:lnTo>
                    <a:pt x="1359" y="393"/>
                  </a:lnTo>
                  <a:lnTo>
                    <a:pt x="1361" y="396"/>
                  </a:lnTo>
                  <a:lnTo>
                    <a:pt x="1371" y="398"/>
                  </a:lnTo>
                  <a:lnTo>
                    <a:pt x="1374" y="398"/>
                  </a:lnTo>
                  <a:lnTo>
                    <a:pt x="1366" y="436"/>
                  </a:lnTo>
                  <a:lnTo>
                    <a:pt x="1336" y="482"/>
                  </a:lnTo>
                  <a:lnTo>
                    <a:pt x="1326" y="426"/>
                  </a:lnTo>
                  <a:lnTo>
                    <a:pt x="1308" y="403"/>
                  </a:lnTo>
                  <a:lnTo>
                    <a:pt x="1288" y="431"/>
                  </a:lnTo>
                  <a:lnTo>
                    <a:pt x="1278" y="403"/>
                  </a:lnTo>
                  <a:lnTo>
                    <a:pt x="1258" y="368"/>
                  </a:lnTo>
                  <a:lnTo>
                    <a:pt x="1248" y="323"/>
                  </a:lnTo>
                  <a:lnTo>
                    <a:pt x="1215" y="270"/>
                  </a:lnTo>
                  <a:lnTo>
                    <a:pt x="1190" y="343"/>
                  </a:lnTo>
                  <a:lnTo>
                    <a:pt x="1190" y="368"/>
                  </a:lnTo>
                  <a:lnTo>
                    <a:pt x="1225" y="398"/>
                  </a:lnTo>
                  <a:lnTo>
                    <a:pt x="1230" y="431"/>
                  </a:lnTo>
                  <a:lnTo>
                    <a:pt x="1205" y="456"/>
                  </a:lnTo>
                  <a:lnTo>
                    <a:pt x="1190" y="446"/>
                  </a:lnTo>
                  <a:lnTo>
                    <a:pt x="1185" y="446"/>
                  </a:lnTo>
                  <a:lnTo>
                    <a:pt x="1185" y="444"/>
                  </a:lnTo>
                  <a:lnTo>
                    <a:pt x="1187" y="439"/>
                  </a:lnTo>
                  <a:lnTo>
                    <a:pt x="1185" y="434"/>
                  </a:lnTo>
                  <a:lnTo>
                    <a:pt x="1185" y="429"/>
                  </a:lnTo>
                  <a:lnTo>
                    <a:pt x="1182" y="424"/>
                  </a:lnTo>
                  <a:lnTo>
                    <a:pt x="1185" y="424"/>
                  </a:lnTo>
                  <a:lnTo>
                    <a:pt x="1187" y="424"/>
                  </a:lnTo>
                  <a:lnTo>
                    <a:pt x="1190" y="424"/>
                  </a:lnTo>
                  <a:lnTo>
                    <a:pt x="1192" y="424"/>
                  </a:lnTo>
                  <a:lnTo>
                    <a:pt x="1195" y="424"/>
                  </a:lnTo>
                  <a:lnTo>
                    <a:pt x="1198" y="419"/>
                  </a:lnTo>
                  <a:lnTo>
                    <a:pt x="1200" y="413"/>
                  </a:lnTo>
                  <a:lnTo>
                    <a:pt x="1198" y="408"/>
                  </a:lnTo>
                  <a:lnTo>
                    <a:pt x="1192" y="406"/>
                  </a:lnTo>
                  <a:lnTo>
                    <a:pt x="1190" y="403"/>
                  </a:lnTo>
                  <a:lnTo>
                    <a:pt x="1185" y="403"/>
                  </a:lnTo>
                  <a:lnTo>
                    <a:pt x="1180" y="398"/>
                  </a:lnTo>
                  <a:lnTo>
                    <a:pt x="1175" y="396"/>
                  </a:lnTo>
                  <a:lnTo>
                    <a:pt x="1170" y="391"/>
                  </a:lnTo>
                  <a:lnTo>
                    <a:pt x="1167" y="388"/>
                  </a:lnTo>
                  <a:lnTo>
                    <a:pt x="1165" y="383"/>
                  </a:lnTo>
                  <a:lnTo>
                    <a:pt x="1162" y="378"/>
                  </a:lnTo>
                  <a:lnTo>
                    <a:pt x="1162" y="373"/>
                  </a:lnTo>
                  <a:lnTo>
                    <a:pt x="1162" y="371"/>
                  </a:lnTo>
                  <a:lnTo>
                    <a:pt x="1165" y="368"/>
                  </a:lnTo>
                  <a:lnTo>
                    <a:pt x="1165" y="363"/>
                  </a:lnTo>
                  <a:lnTo>
                    <a:pt x="1162" y="356"/>
                  </a:lnTo>
                  <a:lnTo>
                    <a:pt x="1162" y="350"/>
                  </a:lnTo>
                  <a:lnTo>
                    <a:pt x="1160" y="343"/>
                  </a:lnTo>
                  <a:lnTo>
                    <a:pt x="1160" y="338"/>
                  </a:lnTo>
                  <a:lnTo>
                    <a:pt x="1157" y="333"/>
                  </a:lnTo>
                  <a:lnTo>
                    <a:pt x="1157" y="328"/>
                  </a:lnTo>
                  <a:lnTo>
                    <a:pt x="1160" y="325"/>
                  </a:lnTo>
                  <a:lnTo>
                    <a:pt x="1162" y="323"/>
                  </a:lnTo>
                  <a:lnTo>
                    <a:pt x="1165" y="323"/>
                  </a:lnTo>
                  <a:lnTo>
                    <a:pt x="1167" y="318"/>
                  </a:lnTo>
                  <a:lnTo>
                    <a:pt x="1172" y="310"/>
                  </a:lnTo>
                  <a:lnTo>
                    <a:pt x="1172" y="308"/>
                  </a:lnTo>
                  <a:lnTo>
                    <a:pt x="1172" y="305"/>
                  </a:lnTo>
                  <a:lnTo>
                    <a:pt x="1170" y="303"/>
                  </a:lnTo>
                  <a:lnTo>
                    <a:pt x="1165" y="300"/>
                  </a:lnTo>
                  <a:lnTo>
                    <a:pt x="1162" y="300"/>
                  </a:lnTo>
                  <a:lnTo>
                    <a:pt x="1157" y="300"/>
                  </a:lnTo>
                  <a:lnTo>
                    <a:pt x="1152" y="300"/>
                  </a:lnTo>
                  <a:lnTo>
                    <a:pt x="1147" y="300"/>
                  </a:lnTo>
                  <a:lnTo>
                    <a:pt x="1142" y="303"/>
                  </a:lnTo>
                  <a:lnTo>
                    <a:pt x="1145" y="305"/>
                  </a:lnTo>
                  <a:lnTo>
                    <a:pt x="1147" y="308"/>
                  </a:lnTo>
                  <a:lnTo>
                    <a:pt x="1150" y="310"/>
                  </a:lnTo>
                  <a:lnTo>
                    <a:pt x="1152" y="313"/>
                  </a:lnTo>
                  <a:lnTo>
                    <a:pt x="1150" y="313"/>
                  </a:lnTo>
                  <a:lnTo>
                    <a:pt x="1147" y="315"/>
                  </a:lnTo>
                  <a:lnTo>
                    <a:pt x="1145" y="313"/>
                  </a:lnTo>
                  <a:lnTo>
                    <a:pt x="1142" y="310"/>
                  </a:lnTo>
                  <a:lnTo>
                    <a:pt x="1137" y="310"/>
                  </a:lnTo>
                  <a:lnTo>
                    <a:pt x="1134" y="313"/>
                  </a:lnTo>
                  <a:lnTo>
                    <a:pt x="1132" y="315"/>
                  </a:lnTo>
                  <a:lnTo>
                    <a:pt x="1132" y="320"/>
                  </a:lnTo>
                  <a:lnTo>
                    <a:pt x="1132" y="323"/>
                  </a:lnTo>
                  <a:lnTo>
                    <a:pt x="1134" y="328"/>
                  </a:lnTo>
                  <a:lnTo>
                    <a:pt x="1137" y="330"/>
                  </a:lnTo>
                  <a:lnTo>
                    <a:pt x="1134" y="335"/>
                  </a:lnTo>
                  <a:lnTo>
                    <a:pt x="1132" y="340"/>
                  </a:lnTo>
                  <a:lnTo>
                    <a:pt x="1132" y="348"/>
                  </a:lnTo>
                  <a:lnTo>
                    <a:pt x="1129" y="353"/>
                  </a:lnTo>
                  <a:lnTo>
                    <a:pt x="1127" y="350"/>
                  </a:lnTo>
                  <a:lnTo>
                    <a:pt x="1124" y="343"/>
                  </a:lnTo>
                  <a:lnTo>
                    <a:pt x="1124" y="335"/>
                  </a:lnTo>
                  <a:lnTo>
                    <a:pt x="1124" y="328"/>
                  </a:lnTo>
                  <a:lnTo>
                    <a:pt x="1119" y="323"/>
                  </a:lnTo>
                  <a:lnTo>
                    <a:pt x="1117" y="320"/>
                  </a:lnTo>
                  <a:lnTo>
                    <a:pt x="1112" y="315"/>
                  </a:lnTo>
                  <a:lnTo>
                    <a:pt x="1109" y="315"/>
                  </a:lnTo>
                  <a:lnTo>
                    <a:pt x="1109" y="318"/>
                  </a:lnTo>
                  <a:lnTo>
                    <a:pt x="1112" y="323"/>
                  </a:lnTo>
                  <a:lnTo>
                    <a:pt x="1112" y="328"/>
                  </a:lnTo>
                  <a:lnTo>
                    <a:pt x="1109" y="328"/>
                  </a:lnTo>
                  <a:lnTo>
                    <a:pt x="1104" y="328"/>
                  </a:lnTo>
                  <a:lnTo>
                    <a:pt x="1099" y="325"/>
                  </a:lnTo>
                  <a:lnTo>
                    <a:pt x="1094" y="320"/>
                  </a:lnTo>
                  <a:lnTo>
                    <a:pt x="1092" y="315"/>
                  </a:lnTo>
                  <a:lnTo>
                    <a:pt x="1092" y="313"/>
                  </a:lnTo>
                  <a:lnTo>
                    <a:pt x="1087" y="313"/>
                  </a:lnTo>
                  <a:lnTo>
                    <a:pt x="1082" y="315"/>
                  </a:lnTo>
                  <a:lnTo>
                    <a:pt x="1079" y="315"/>
                  </a:lnTo>
                  <a:lnTo>
                    <a:pt x="1077" y="313"/>
                  </a:lnTo>
                  <a:lnTo>
                    <a:pt x="1079" y="310"/>
                  </a:lnTo>
                  <a:lnTo>
                    <a:pt x="1082" y="303"/>
                  </a:lnTo>
                  <a:lnTo>
                    <a:pt x="1082" y="300"/>
                  </a:lnTo>
                  <a:lnTo>
                    <a:pt x="1077" y="298"/>
                  </a:lnTo>
                  <a:lnTo>
                    <a:pt x="1071" y="300"/>
                  </a:lnTo>
                  <a:lnTo>
                    <a:pt x="1064" y="300"/>
                  </a:lnTo>
                  <a:lnTo>
                    <a:pt x="1056" y="303"/>
                  </a:lnTo>
                  <a:lnTo>
                    <a:pt x="1051" y="303"/>
                  </a:lnTo>
                  <a:lnTo>
                    <a:pt x="1049" y="305"/>
                  </a:lnTo>
                  <a:lnTo>
                    <a:pt x="1044" y="305"/>
                  </a:lnTo>
                  <a:lnTo>
                    <a:pt x="1039" y="308"/>
                  </a:lnTo>
                  <a:lnTo>
                    <a:pt x="1036" y="310"/>
                  </a:lnTo>
                  <a:lnTo>
                    <a:pt x="1036" y="315"/>
                  </a:lnTo>
                  <a:lnTo>
                    <a:pt x="1034" y="320"/>
                  </a:lnTo>
                  <a:lnTo>
                    <a:pt x="1029" y="323"/>
                  </a:lnTo>
                  <a:lnTo>
                    <a:pt x="1024" y="323"/>
                  </a:lnTo>
                  <a:lnTo>
                    <a:pt x="1021" y="325"/>
                  </a:lnTo>
                  <a:lnTo>
                    <a:pt x="1021" y="330"/>
                  </a:lnTo>
                  <a:lnTo>
                    <a:pt x="1024" y="333"/>
                  </a:lnTo>
                  <a:lnTo>
                    <a:pt x="1029" y="338"/>
                  </a:lnTo>
                  <a:lnTo>
                    <a:pt x="1034" y="343"/>
                  </a:lnTo>
                  <a:lnTo>
                    <a:pt x="1036" y="345"/>
                  </a:lnTo>
                  <a:lnTo>
                    <a:pt x="1039" y="345"/>
                  </a:lnTo>
                  <a:lnTo>
                    <a:pt x="1039" y="350"/>
                  </a:lnTo>
                  <a:lnTo>
                    <a:pt x="1039" y="353"/>
                  </a:lnTo>
                  <a:lnTo>
                    <a:pt x="1034" y="356"/>
                  </a:lnTo>
                  <a:lnTo>
                    <a:pt x="1026" y="353"/>
                  </a:lnTo>
                  <a:lnTo>
                    <a:pt x="1021" y="356"/>
                  </a:lnTo>
                  <a:lnTo>
                    <a:pt x="1021" y="358"/>
                  </a:lnTo>
                  <a:lnTo>
                    <a:pt x="1021" y="361"/>
                  </a:lnTo>
                  <a:lnTo>
                    <a:pt x="1021" y="366"/>
                  </a:lnTo>
                  <a:lnTo>
                    <a:pt x="1024" y="371"/>
                  </a:lnTo>
                  <a:lnTo>
                    <a:pt x="1026" y="373"/>
                  </a:lnTo>
                  <a:lnTo>
                    <a:pt x="1031" y="373"/>
                  </a:lnTo>
                  <a:lnTo>
                    <a:pt x="1036" y="373"/>
                  </a:lnTo>
                  <a:lnTo>
                    <a:pt x="1044" y="373"/>
                  </a:lnTo>
                  <a:lnTo>
                    <a:pt x="1051" y="376"/>
                  </a:lnTo>
                  <a:lnTo>
                    <a:pt x="1054" y="376"/>
                  </a:lnTo>
                  <a:lnTo>
                    <a:pt x="1059" y="376"/>
                  </a:lnTo>
                  <a:lnTo>
                    <a:pt x="1069" y="378"/>
                  </a:lnTo>
                  <a:lnTo>
                    <a:pt x="1077" y="381"/>
                  </a:lnTo>
                  <a:lnTo>
                    <a:pt x="1082" y="386"/>
                  </a:lnTo>
                  <a:lnTo>
                    <a:pt x="1082" y="391"/>
                  </a:lnTo>
                  <a:lnTo>
                    <a:pt x="1079" y="396"/>
                  </a:lnTo>
                  <a:lnTo>
                    <a:pt x="1079" y="398"/>
                  </a:lnTo>
                  <a:lnTo>
                    <a:pt x="1077" y="398"/>
                  </a:lnTo>
                  <a:lnTo>
                    <a:pt x="1071" y="396"/>
                  </a:lnTo>
                  <a:lnTo>
                    <a:pt x="1066" y="396"/>
                  </a:lnTo>
                  <a:lnTo>
                    <a:pt x="1059" y="393"/>
                  </a:lnTo>
                  <a:lnTo>
                    <a:pt x="1054" y="388"/>
                  </a:lnTo>
                  <a:lnTo>
                    <a:pt x="1049" y="388"/>
                  </a:lnTo>
                  <a:lnTo>
                    <a:pt x="1044" y="386"/>
                  </a:lnTo>
                  <a:lnTo>
                    <a:pt x="1039" y="383"/>
                  </a:lnTo>
                  <a:lnTo>
                    <a:pt x="1034" y="383"/>
                  </a:lnTo>
                  <a:lnTo>
                    <a:pt x="1026" y="383"/>
                  </a:lnTo>
                  <a:lnTo>
                    <a:pt x="1021" y="383"/>
                  </a:lnTo>
                  <a:lnTo>
                    <a:pt x="1019" y="383"/>
                  </a:lnTo>
                  <a:lnTo>
                    <a:pt x="1019" y="388"/>
                  </a:lnTo>
                  <a:lnTo>
                    <a:pt x="1019" y="393"/>
                  </a:lnTo>
                  <a:lnTo>
                    <a:pt x="1019" y="398"/>
                  </a:lnTo>
                  <a:lnTo>
                    <a:pt x="1019" y="403"/>
                  </a:lnTo>
                  <a:lnTo>
                    <a:pt x="1021" y="406"/>
                  </a:lnTo>
                  <a:lnTo>
                    <a:pt x="1026" y="406"/>
                  </a:lnTo>
                  <a:lnTo>
                    <a:pt x="1031" y="408"/>
                  </a:lnTo>
                  <a:lnTo>
                    <a:pt x="1036" y="413"/>
                  </a:lnTo>
                  <a:lnTo>
                    <a:pt x="1044" y="419"/>
                  </a:lnTo>
                  <a:lnTo>
                    <a:pt x="1049" y="424"/>
                  </a:lnTo>
                  <a:lnTo>
                    <a:pt x="1049" y="429"/>
                  </a:lnTo>
                  <a:lnTo>
                    <a:pt x="1051" y="434"/>
                  </a:lnTo>
                  <a:lnTo>
                    <a:pt x="1051" y="439"/>
                  </a:lnTo>
                  <a:lnTo>
                    <a:pt x="1054" y="441"/>
                  </a:lnTo>
                  <a:lnTo>
                    <a:pt x="1056" y="441"/>
                  </a:lnTo>
                  <a:lnTo>
                    <a:pt x="1059" y="441"/>
                  </a:lnTo>
                  <a:lnTo>
                    <a:pt x="1064" y="444"/>
                  </a:lnTo>
                  <a:lnTo>
                    <a:pt x="1066" y="444"/>
                  </a:lnTo>
                  <a:lnTo>
                    <a:pt x="1071" y="446"/>
                  </a:lnTo>
                  <a:lnTo>
                    <a:pt x="1074" y="446"/>
                  </a:lnTo>
                  <a:lnTo>
                    <a:pt x="1077" y="446"/>
                  </a:lnTo>
                  <a:lnTo>
                    <a:pt x="1079" y="446"/>
                  </a:lnTo>
                  <a:lnTo>
                    <a:pt x="1084" y="446"/>
                  </a:lnTo>
                  <a:lnTo>
                    <a:pt x="1087" y="444"/>
                  </a:lnTo>
                  <a:lnTo>
                    <a:pt x="1094" y="444"/>
                  </a:lnTo>
                  <a:lnTo>
                    <a:pt x="1102" y="441"/>
                  </a:lnTo>
                  <a:lnTo>
                    <a:pt x="1107" y="439"/>
                  </a:lnTo>
                  <a:lnTo>
                    <a:pt x="1114" y="439"/>
                  </a:lnTo>
                  <a:lnTo>
                    <a:pt x="1119" y="436"/>
                  </a:lnTo>
                  <a:lnTo>
                    <a:pt x="1124" y="434"/>
                  </a:lnTo>
                  <a:lnTo>
                    <a:pt x="1129" y="429"/>
                  </a:lnTo>
                  <a:lnTo>
                    <a:pt x="1132" y="426"/>
                  </a:lnTo>
                  <a:lnTo>
                    <a:pt x="1134" y="429"/>
                  </a:lnTo>
                  <a:lnTo>
                    <a:pt x="1137" y="429"/>
                  </a:lnTo>
                  <a:lnTo>
                    <a:pt x="1142" y="434"/>
                  </a:lnTo>
                  <a:lnTo>
                    <a:pt x="1145" y="434"/>
                  </a:lnTo>
                  <a:lnTo>
                    <a:pt x="1147" y="439"/>
                  </a:lnTo>
                  <a:lnTo>
                    <a:pt x="1152" y="441"/>
                  </a:lnTo>
                  <a:lnTo>
                    <a:pt x="1157" y="444"/>
                  </a:lnTo>
                  <a:lnTo>
                    <a:pt x="1160" y="449"/>
                  </a:lnTo>
                  <a:lnTo>
                    <a:pt x="1167" y="451"/>
                  </a:lnTo>
                  <a:lnTo>
                    <a:pt x="1157" y="471"/>
                  </a:lnTo>
                  <a:lnTo>
                    <a:pt x="1122" y="461"/>
                  </a:lnTo>
                  <a:lnTo>
                    <a:pt x="1069" y="461"/>
                  </a:lnTo>
                  <a:lnTo>
                    <a:pt x="1039" y="441"/>
                  </a:lnTo>
                  <a:lnTo>
                    <a:pt x="991" y="451"/>
                  </a:lnTo>
                  <a:lnTo>
                    <a:pt x="996" y="466"/>
                  </a:lnTo>
                  <a:lnTo>
                    <a:pt x="1001" y="497"/>
                  </a:lnTo>
                  <a:lnTo>
                    <a:pt x="986" y="492"/>
                  </a:lnTo>
                  <a:lnTo>
                    <a:pt x="958" y="461"/>
                  </a:lnTo>
                  <a:lnTo>
                    <a:pt x="903" y="471"/>
                  </a:lnTo>
                  <a:lnTo>
                    <a:pt x="875" y="451"/>
                  </a:lnTo>
                  <a:lnTo>
                    <a:pt x="885" y="431"/>
                  </a:lnTo>
                  <a:lnTo>
                    <a:pt x="850" y="421"/>
                  </a:lnTo>
                  <a:lnTo>
                    <a:pt x="807" y="398"/>
                  </a:lnTo>
                  <a:lnTo>
                    <a:pt x="749" y="383"/>
                  </a:lnTo>
                  <a:lnTo>
                    <a:pt x="713" y="393"/>
                  </a:lnTo>
                  <a:lnTo>
                    <a:pt x="676" y="353"/>
                  </a:lnTo>
                  <a:lnTo>
                    <a:pt x="577" y="398"/>
                  </a:lnTo>
                  <a:lnTo>
                    <a:pt x="550" y="426"/>
                  </a:lnTo>
                  <a:lnTo>
                    <a:pt x="509" y="416"/>
                  </a:lnTo>
                  <a:lnTo>
                    <a:pt x="482" y="388"/>
                  </a:lnTo>
                  <a:lnTo>
                    <a:pt x="451" y="378"/>
                  </a:lnTo>
                  <a:lnTo>
                    <a:pt x="439" y="378"/>
                  </a:lnTo>
                  <a:lnTo>
                    <a:pt x="424" y="363"/>
                  </a:lnTo>
                  <a:lnTo>
                    <a:pt x="376" y="368"/>
                  </a:lnTo>
                  <a:lnTo>
                    <a:pt x="308" y="338"/>
                  </a:lnTo>
                  <a:lnTo>
                    <a:pt x="277" y="343"/>
                  </a:lnTo>
                  <a:lnTo>
                    <a:pt x="252" y="328"/>
                  </a:lnTo>
                  <a:lnTo>
                    <a:pt x="245" y="310"/>
                  </a:lnTo>
                  <a:lnTo>
                    <a:pt x="199" y="295"/>
                  </a:lnTo>
                  <a:lnTo>
                    <a:pt x="171" y="315"/>
                  </a:lnTo>
                  <a:lnTo>
                    <a:pt x="131" y="333"/>
                  </a:lnTo>
                  <a:lnTo>
                    <a:pt x="98" y="353"/>
                  </a:lnTo>
                  <a:lnTo>
                    <a:pt x="78" y="403"/>
                  </a:lnTo>
                  <a:lnTo>
                    <a:pt x="35" y="413"/>
                  </a:lnTo>
                  <a:lnTo>
                    <a:pt x="35" y="446"/>
                  </a:lnTo>
                  <a:lnTo>
                    <a:pt x="68" y="487"/>
                  </a:lnTo>
                  <a:lnTo>
                    <a:pt x="98" y="502"/>
                  </a:lnTo>
                  <a:lnTo>
                    <a:pt x="98" y="522"/>
                  </a:lnTo>
                  <a:lnTo>
                    <a:pt x="78" y="532"/>
                  </a:lnTo>
                  <a:lnTo>
                    <a:pt x="50" y="522"/>
                  </a:lnTo>
                  <a:lnTo>
                    <a:pt x="0" y="560"/>
                  </a:lnTo>
                  <a:lnTo>
                    <a:pt x="15" y="575"/>
                  </a:lnTo>
                  <a:lnTo>
                    <a:pt x="35" y="595"/>
                  </a:lnTo>
                  <a:lnTo>
                    <a:pt x="83" y="595"/>
                  </a:lnTo>
                  <a:lnTo>
                    <a:pt x="118" y="600"/>
                  </a:lnTo>
                  <a:lnTo>
                    <a:pt x="103" y="635"/>
                  </a:lnTo>
                  <a:lnTo>
                    <a:pt x="63" y="653"/>
                  </a:lnTo>
                  <a:lnTo>
                    <a:pt x="30" y="673"/>
                  </a:lnTo>
                  <a:lnTo>
                    <a:pt x="25" y="698"/>
                  </a:lnTo>
                  <a:lnTo>
                    <a:pt x="63" y="724"/>
                  </a:lnTo>
                  <a:lnTo>
                    <a:pt x="68" y="751"/>
                  </a:lnTo>
                  <a:lnTo>
                    <a:pt x="93" y="761"/>
                  </a:lnTo>
                  <a:lnTo>
                    <a:pt x="98" y="797"/>
                  </a:lnTo>
                  <a:lnTo>
                    <a:pt x="136" y="792"/>
                  </a:lnTo>
                  <a:lnTo>
                    <a:pt x="182" y="792"/>
                  </a:lnTo>
                  <a:lnTo>
                    <a:pt x="156" y="840"/>
                  </a:lnTo>
                  <a:lnTo>
                    <a:pt x="78" y="905"/>
                  </a:lnTo>
                  <a:lnTo>
                    <a:pt x="166" y="860"/>
                  </a:lnTo>
                  <a:lnTo>
                    <a:pt x="234" y="787"/>
                  </a:lnTo>
                  <a:lnTo>
                    <a:pt x="229" y="772"/>
                  </a:lnTo>
                  <a:lnTo>
                    <a:pt x="272" y="719"/>
                  </a:lnTo>
                  <a:lnTo>
                    <a:pt x="282" y="741"/>
                  </a:lnTo>
                  <a:lnTo>
                    <a:pt x="287" y="766"/>
                  </a:lnTo>
                  <a:lnTo>
                    <a:pt x="320" y="741"/>
                  </a:lnTo>
                  <a:lnTo>
                    <a:pt x="355" y="719"/>
                  </a:lnTo>
                  <a:lnTo>
                    <a:pt x="371" y="731"/>
                  </a:lnTo>
                  <a:lnTo>
                    <a:pt x="451" y="746"/>
                  </a:lnTo>
                  <a:lnTo>
                    <a:pt x="504" y="772"/>
                  </a:lnTo>
                  <a:lnTo>
                    <a:pt x="545" y="751"/>
                  </a:lnTo>
                  <a:lnTo>
                    <a:pt x="603" y="855"/>
                  </a:lnTo>
                  <a:lnTo>
                    <a:pt x="640" y="880"/>
                  </a:lnTo>
                  <a:lnTo>
                    <a:pt x="635" y="920"/>
                  </a:lnTo>
                  <a:lnTo>
                    <a:pt x="650" y="953"/>
                  </a:lnTo>
                  <a:lnTo>
                    <a:pt x="691" y="1009"/>
                  </a:lnTo>
                  <a:lnTo>
                    <a:pt x="749" y="1046"/>
                  </a:lnTo>
                  <a:lnTo>
                    <a:pt x="754" y="1072"/>
                  </a:lnTo>
                  <a:lnTo>
                    <a:pt x="759" y="1102"/>
                  </a:lnTo>
                  <a:lnTo>
                    <a:pt x="744" y="1112"/>
                  </a:lnTo>
                  <a:lnTo>
                    <a:pt x="749" y="1092"/>
                  </a:lnTo>
                  <a:lnTo>
                    <a:pt x="719" y="1082"/>
                  </a:lnTo>
                  <a:lnTo>
                    <a:pt x="734" y="1137"/>
                  </a:lnTo>
                  <a:lnTo>
                    <a:pt x="729" y="1180"/>
                  </a:lnTo>
                  <a:lnTo>
                    <a:pt x="719" y="1220"/>
                  </a:lnTo>
                  <a:lnTo>
                    <a:pt x="729" y="1253"/>
                  </a:lnTo>
                  <a:lnTo>
                    <a:pt x="729" y="1273"/>
                  </a:lnTo>
                  <a:lnTo>
                    <a:pt x="754" y="1324"/>
                  </a:lnTo>
                  <a:lnTo>
                    <a:pt x="774" y="1359"/>
                  </a:lnTo>
                  <a:lnTo>
                    <a:pt x="792" y="1387"/>
                  </a:lnTo>
                  <a:lnTo>
                    <a:pt x="837" y="1417"/>
                  </a:lnTo>
                  <a:lnTo>
                    <a:pt x="842" y="1427"/>
                  </a:lnTo>
                  <a:lnTo>
                    <a:pt x="845" y="1427"/>
                  </a:lnTo>
                  <a:lnTo>
                    <a:pt x="875" y="1483"/>
                  </a:lnTo>
                  <a:lnTo>
                    <a:pt x="895" y="1515"/>
                  </a:lnTo>
                  <a:lnTo>
                    <a:pt x="890" y="1525"/>
                  </a:lnTo>
                  <a:lnTo>
                    <a:pt x="928" y="1551"/>
                  </a:lnTo>
                  <a:lnTo>
                    <a:pt x="933" y="1576"/>
                  </a:lnTo>
                  <a:lnTo>
                    <a:pt x="948" y="1586"/>
                  </a:lnTo>
                  <a:lnTo>
                    <a:pt x="968" y="1606"/>
                  </a:lnTo>
                  <a:lnTo>
                    <a:pt x="976" y="1591"/>
                  </a:lnTo>
                  <a:lnTo>
                    <a:pt x="953" y="1576"/>
                  </a:lnTo>
                  <a:lnTo>
                    <a:pt x="933" y="1530"/>
                  </a:lnTo>
                  <a:lnTo>
                    <a:pt x="895" y="1477"/>
                  </a:lnTo>
                  <a:lnTo>
                    <a:pt x="885" y="1447"/>
                  </a:lnTo>
                  <a:lnTo>
                    <a:pt x="913" y="1457"/>
                  </a:lnTo>
                  <a:lnTo>
                    <a:pt x="938" y="1510"/>
                  </a:lnTo>
                  <a:lnTo>
                    <a:pt x="948" y="1525"/>
                  </a:lnTo>
                  <a:lnTo>
                    <a:pt x="976" y="1541"/>
                  </a:lnTo>
                  <a:lnTo>
                    <a:pt x="976" y="1556"/>
                  </a:lnTo>
                  <a:lnTo>
                    <a:pt x="996" y="1566"/>
                  </a:lnTo>
                  <a:lnTo>
                    <a:pt x="1006" y="1581"/>
                  </a:lnTo>
                  <a:lnTo>
                    <a:pt x="1031" y="1606"/>
                  </a:lnTo>
                  <a:lnTo>
                    <a:pt x="1036" y="1644"/>
                  </a:lnTo>
                  <a:lnTo>
                    <a:pt x="1036" y="1659"/>
                  </a:lnTo>
                  <a:lnTo>
                    <a:pt x="1104" y="1699"/>
                  </a:lnTo>
                  <a:lnTo>
                    <a:pt x="1137" y="1717"/>
                  </a:lnTo>
                  <a:lnTo>
                    <a:pt x="1195" y="1732"/>
                  </a:lnTo>
                  <a:lnTo>
                    <a:pt x="1210" y="1727"/>
                  </a:lnTo>
                  <a:lnTo>
                    <a:pt x="1225" y="1727"/>
                  </a:lnTo>
                  <a:lnTo>
                    <a:pt x="1250" y="1747"/>
                  </a:lnTo>
                  <a:lnTo>
                    <a:pt x="1256" y="1755"/>
                  </a:lnTo>
                  <a:lnTo>
                    <a:pt x="1288" y="1760"/>
                  </a:lnTo>
                  <a:lnTo>
                    <a:pt x="1303" y="1755"/>
                  </a:lnTo>
                  <a:lnTo>
                    <a:pt x="1303" y="1752"/>
                  </a:lnTo>
                  <a:lnTo>
                    <a:pt x="1331" y="1767"/>
                  </a:lnTo>
                  <a:lnTo>
                    <a:pt x="1361" y="1755"/>
                  </a:lnTo>
                  <a:lnTo>
                    <a:pt x="1329" y="1767"/>
                  </a:lnTo>
                  <a:lnTo>
                    <a:pt x="1356" y="1810"/>
                  </a:lnTo>
                  <a:lnTo>
                    <a:pt x="1366" y="1820"/>
                  </a:lnTo>
                  <a:lnTo>
                    <a:pt x="1414" y="1851"/>
                  </a:lnTo>
                  <a:lnTo>
                    <a:pt x="1419" y="1830"/>
                  </a:lnTo>
                  <a:lnTo>
                    <a:pt x="1404" y="1810"/>
                  </a:lnTo>
                  <a:close/>
                  <a:moveTo>
                    <a:pt x="1268" y="1722"/>
                  </a:moveTo>
                  <a:lnTo>
                    <a:pt x="1268" y="1722"/>
                  </a:lnTo>
                  <a:lnTo>
                    <a:pt x="1281" y="1722"/>
                  </a:lnTo>
                  <a:lnTo>
                    <a:pt x="1283" y="1722"/>
                  </a:lnTo>
                  <a:lnTo>
                    <a:pt x="1268" y="1722"/>
                  </a:lnTo>
                  <a:close/>
                  <a:moveTo>
                    <a:pt x="1593" y="1692"/>
                  </a:moveTo>
                  <a:lnTo>
                    <a:pt x="1614" y="1692"/>
                  </a:lnTo>
                  <a:lnTo>
                    <a:pt x="1629" y="1679"/>
                  </a:lnTo>
                  <a:lnTo>
                    <a:pt x="1671" y="1687"/>
                  </a:lnTo>
                  <a:lnTo>
                    <a:pt x="1651" y="1674"/>
                  </a:lnTo>
                  <a:lnTo>
                    <a:pt x="1619" y="1659"/>
                  </a:lnTo>
                  <a:lnTo>
                    <a:pt x="1578" y="1659"/>
                  </a:lnTo>
                  <a:lnTo>
                    <a:pt x="1578" y="1669"/>
                  </a:lnTo>
                  <a:lnTo>
                    <a:pt x="1556" y="1674"/>
                  </a:lnTo>
                  <a:lnTo>
                    <a:pt x="1583" y="1687"/>
                  </a:lnTo>
                  <a:lnTo>
                    <a:pt x="1593" y="1692"/>
                  </a:lnTo>
                  <a:close/>
                  <a:moveTo>
                    <a:pt x="1520" y="1634"/>
                  </a:moveTo>
                  <a:lnTo>
                    <a:pt x="1520" y="1634"/>
                  </a:lnTo>
                  <a:lnTo>
                    <a:pt x="1513" y="1624"/>
                  </a:lnTo>
                  <a:lnTo>
                    <a:pt x="1510" y="1619"/>
                  </a:lnTo>
                  <a:lnTo>
                    <a:pt x="1472" y="1604"/>
                  </a:lnTo>
                  <a:lnTo>
                    <a:pt x="1414" y="1604"/>
                  </a:lnTo>
                  <a:lnTo>
                    <a:pt x="1382" y="1609"/>
                  </a:lnTo>
                  <a:lnTo>
                    <a:pt x="1371" y="1619"/>
                  </a:lnTo>
                  <a:lnTo>
                    <a:pt x="1397" y="1624"/>
                  </a:lnTo>
                  <a:lnTo>
                    <a:pt x="1419" y="1624"/>
                  </a:lnTo>
                  <a:lnTo>
                    <a:pt x="1450" y="1624"/>
                  </a:lnTo>
                  <a:lnTo>
                    <a:pt x="1482" y="1629"/>
                  </a:lnTo>
                  <a:lnTo>
                    <a:pt x="1492" y="1644"/>
                  </a:lnTo>
                  <a:lnTo>
                    <a:pt x="1503" y="1654"/>
                  </a:lnTo>
                  <a:lnTo>
                    <a:pt x="1545" y="1654"/>
                  </a:lnTo>
                  <a:lnTo>
                    <a:pt x="1553" y="1654"/>
                  </a:lnTo>
                  <a:lnTo>
                    <a:pt x="1556" y="1651"/>
                  </a:lnTo>
                  <a:lnTo>
                    <a:pt x="1556" y="1649"/>
                  </a:lnTo>
                  <a:lnTo>
                    <a:pt x="1545" y="1639"/>
                  </a:lnTo>
                  <a:lnTo>
                    <a:pt x="1538" y="1639"/>
                  </a:lnTo>
                  <a:lnTo>
                    <a:pt x="1528" y="1636"/>
                  </a:lnTo>
                  <a:lnTo>
                    <a:pt x="1520" y="1634"/>
                  </a:lnTo>
                  <a:close/>
                  <a:moveTo>
                    <a:pt x="1704" y="1717"/>
                  </a:moveTo>
                  <a:lnTo>
                    <a:pt x="1729" y="1722"/>
                  </a:lnTo>
                  <a:lnTo>
                    <a:pt x="1729" y="1709"/>
                  </a:lnTo>
                  <a:lnTo>
                    <a:pt x="1707" y="1709"/>
                  </a:lnTo>
                  <a:lnTo>
                    <a:pt x="1704" y="1717"/>
                  </a:lnTo>
                  <a:close/>
                  <a:moveTo>
                    <a:pt x="1452" y="1861"/>
                  </a:moveTo>
                  <a:lnTo>
                    <a:pt x="1452" y="1861"/>
                  </a:lnTo>
                  <a:lnTo>
                    <a:pt x="1467" y="1846"/>
                  </a:lnTo>
                  <a:lnTo>
                    <a:pt x="1487" y="1851"/>
                  </a:lnTo>
                  <a:lnTo>
                    <a:pt x="1492" y="1866"/>
                  </a:lnTo>
                  <a:lnTo>
                    <a:pt x="1508" y="1851"/>
                  </a:lnTo>
                  <a:lnTo>
                    <a:pt x="1487" y="1836"/>
                  </a:lnTo>
                  <a:lnTo>
                    <a:pt x="1462" y="1836"/>
                  </a:lnTo>
                  <a:lnTo>
                    <a:pt x="1445" y="1838"/>
                  </a:lnTo>
                  <a:lnTo>
                    <a:pt x="1432" y="1838"/>
                  </a:lnTo>
                  <a:lnTo>
                    <a:pt x="1424" y="1836"/>
                  </a:lnTo>
                  <a:lnTo>
                    <a:pt x="1419" y="1836"/>
                  </a:lnTo>
                  <a:lnTo>
                    <a:pt x="1419" y="1830"/>
                  </a:lnTo>
                  <a:lnTo>
                    <a:pt x="1414" y="1851"/>
                  </a:lnTo>
                  <a:lnTo>
                    <a:pt x="1435" y="1871"/>
                  </a:lnTo>
                  <a:lnTo>
                    <a:pt x="1445" y="1871"/>
                  </a:lnTo>
                  <a:lnTo>
                    <a:pt x="1452" y="1861"/>
                  </a:lnTo>
                  <a:close/>
                  <a:moveTo>
                    <a:pt x="2201" y="2073"/>
                  </a:moveTo>
                  <a:lnTo>
                    <a:pt x="2201" y="2073"/>
                  </a:lnTo>
                  <a:lnTo>
                    <a:pt x="2168" y="2062"/>
                  </a:lnTo>
                  <a:lnTo>
                    <a:pt x="2123" y="2037"/>
                  </a:lnTo>
                  <a:lnTo>
                    <a:pt x="2070" y="2032"/>
                  </a:lnTo>
                  <a:lnTo>
                    <a:pt x="2055" y="2027"/>
                  </a:lnTo>
                  <a:lnTo>
                    <a:pt x="2042" y="2012"/>
                  </a:lnTo>
                  <a:lnTo>
                    <a:pt x="2002" y="1997"/>
                  </a:lnTo>
                  <a:lnTo>
                    <a:pt x="1964" y="1974"/>
                  </a:lnTo>
                  <a:lnTo>
                    <a:pt x="1959" y="1954"/>
                  </a:lnTo>
                  <a:lnTo>
                    <a:pt x="1944" y="1914"/>
                  </a:lnTo>
                  <a:lnTo>
                    <a:pt x="1939" y="1914"/>
                  </a:lnTo>
                  <a:lnTo>
                    <a:pt x="1903" y="1893"/>
                  </a:lnTo>
                  <a:lnTo>
                    <a:pt x="1891" y="1893"/>
                  </a:lnTo>
                  <a:lnTo>
                    <a:pt x="1891" y="1896"/>
                  </a:lnTo>
                  <a:lnTo>
                    <a:pt x="1891" y="1893"/>
                  </a:lnTo>
                  <a:lnTo>
                    <a:pt x="1848" y="1888"/>
                  </a:lnTo>
                  <a:lnTo>
                    <a:pt x="1848" y="1883"/>
                  </a:lnTo>
                  <a:lnTo>
                    <a:pt x="1848" y="1888"/>
                  </a:lnTo>
                  <a:lnTo>
                    <a:pt x="1848" y="1881"/>
                  </a:lnTo>
                  <a:lnTo>
                    <a:pt x="1828" y="1876"/>
                  </a:lnTo>
                  <a:lnTo>
                    <a:pt x="1823" y="1861"/>
                  </a:lnTo>
                  <a:lnTo>
                    <a:pt x="1803" y="1846"/>
                  </a:lnTo>
                  <a:lnTo>
                    <a:pt x="1798" y="1846"/>
                  </a:lnTo>
                  <a:lnTo>
                    <a:pt x="1782" y="1841"/>
                  </a:lnTo>
                  <a:lnTo>
                    <a:pt x="1777" y="1830"/>
                  </a:lnTo>
                  <a:lnTo>
                    <a:pt x="1745" y="1815"/>
                  </a:lnTo>
                  <a:lnTo>
                    <a:pt x="1694" y="1820"/>
                  </a:lnTo>
                  <a:lnTo>
                    <a:pt x="1666" y="1815"/>
                  </a:lnTo>
                  <a:lnTo>
                    <a:pt x="1661" y="1805"/>
                  </a:lnTo>
                  <a:lnTo>
                    <a:pt x="1636" y="1800"/>
                  </a:lnTo>
                  <a:lnTo>
                    <a:pt x="1608" y="1805"/>
                  </a:lnTo>
                  <a:lnTo>
                    <a:pt x="1606" y="1803"/>
                  </a:lnTo>
                  <a:lnTo>
                    <a:pt x="1606" y="1798"/>
                  </a:lnTo>
                  <a:lnTo>
                    <a:pt x="1603" y="1790"/>
                  </a:lnTo>
                  <a:lnTo>
                    <a:pt x="1591" y="1795"/>
                  </a:lnTo>
                  <a:lnTo>
                    <a:pt x="1603" y="1790"/>
                  </a:lnTo>
                  <a:lnTo>
                    <a:pt x="1603" y="1785"/>
                  </a:lnTo>
                  <a:lnTo>
                    <a:pt x="1566" y="1795"/>
                  </a:lnTo>
                  <a:lnTo>
                    <a:pt x="1545" y="1805"/>
                  </a:lnTo>
                  <a:lnTo>
                    <a:pt x="1535" y="1830"/>
                  </a:lnTo>
                  <a:lnTo>
                    <a:pt x="1525" y="1836"/>
                  </a:lnTo>
                  <a:lnTo>
                    <a:pt x="1508" y="1851"/>
                  </a:lnTo>
                  <a:lnTo>
                    <a:pt x="1492" y="1866"/>
                  </a:lnTo>
                  <a:lnTo>
                    <a:pt x="1498" y="1878"/>
                  </a:lnTo>
                  <a:lnTo>
                    <a:pt x="1503" y="1904"/>
                  </a:lnTo>
                  <a:lnTo>
                    <a:pt x="1503" y="1919"/>
                  </a:lnTo>
                  <a:lnTo>
                    <a:pt x="1508" y="1939"/>
                  </a:lnTo>
                  <a:lnTo>
                    <a:pt x="1487" y="1954"/>
                  </a:lnTo>
                  <a:lnTo>
                    <a:pt x="1477" y="1964"/>
                  </a:lnTo>
                  <a:lnTo>
                    <a:pt x="1472" y="1974"/>
                  </a:lnTo>
                  <a:lnTo>
                    <a:pt x="1450" y="2022"/>
                  </a:lnTo>
                  <a:lnTo>
                    <a:pt x="1462" y="2042"/>
                  </a:lnTo>
                  <a:lnTo>
                    <a:pt x="1450" y="2047"/>
                  </a:lnTo>
                  <a:lnTo>
                    <a:pt x="1452" y="2047"/>
                  </a:lnTo>
                  <a:lnTo>
                    <a:pt x="1435" y="2057"/>
                  </a:lnTo>
                  <a:lnTo>
                    <a:pt x="1452" y="2093"/>
                  </a:lnTo>
                  <a:lnTo>
                    <a:pt x="1482" y="2146"/>
                  </a:lnTo>
                  <a:lnTo>
                    <a:pt x="1515" y="2211"/>
                  </a:lnTo>
                  <a:lnTo>
                    <a:pt x="1515" y="2221"/>
                  </a:lnTo>
                  <a:lnTo>
                    <a:pt x="1626" y="2284"/>
                  </a:lnTo>
                  <a:lnTo>
                    <a:pt x="1631" y="2284"/>
                  </a:lnTo>
                  <a:lnTo>
                    <a:pt x="1631" y="2282"/>
                  </a:lnTo>
                  <a:lnTo>
                    <a:pt x="1634" y="2279"/>
                  </a:lnTo>
                  <a:lnTo>
                    <a:pt x="1649" y="2294"/>
                  </a:lnTo>
                  <a:lnTo>
                    <a:pt x="1649" y="2297"/>
                  </a:lnTo>
                  <a:lnTo>
                    <a:pt x="1644" y="2315"/>
                  </a:lnTo>
                  <a:lnTo>
                    <a:pt x="1666" y="2352"/>
                  </a:lnTo>
                  <a:lnTo>
                    <a:pt x="1671" y="2362"/>
                  </a:lnTo>
                  <a:lnTo>
                    <a:pt x="1677" y="2357"/>
                  </a:lnTo>
                  <a:lnTo>
                    <a:pt x="1677" y="2360"/>
                  </a:lnTo>
                  <a:lnTo>
                    <a:pt x="1671" y="2362"/>
                  </a:lnTo>
                  <a:lnTo>
                    <a:pt x="1677" y="2368"/>
                  </a:lnTo>
                  <a:lnTo>
                    <a:pt x="1671" y="2388"/>
                  </a:lnTo>
                  <a:lnTo>
                    <a:pt x="1656" y="2405"/>
                  </a:lnTo>
                  <a:lnTo>
                    <a:pt x="1656" y="2436"/>
                  </a:lnTo>
                  <a:lnTo>
                    <a:pt x="1646" y="2456"/>
                  </a:lnTo>
                  <a:lnTo>
                    <a:pt x="1629" y="2524"/>
                  </a:lnTo>
                  <a:lnTo>
                    <a:pt x="1634" y="2574"/>
                  </a:lnTo>
                  <a:lnTo>
                    <a:pt x="1603" y="2642"/>
                  </a:lnTo>
                  <a:lnTo>
                    <a:pt x="1598" y="2713"/>
                  </a:lnTo>
                  <a:lnTo>
                    <a:pt x="1598" y="2751"/>
                  </a:lnTo>
                  <a:lnTo>
                    <a:pt x="1593" y="2786"/>
                  </a:lnTo>
                  <a:lnTo>
                    <a:pt x="1603" y="2806"/>
                  </a:lnTo>
                  <a:lnTo>
                    <a:pt x="1588" y="2889"/>
                  </a:lnTo>
                  <a:lnTo>
                    <a:pt x="1571" y="2925"/>
                  </a:lnTo>
                  <a:lnTo>
                    <a:pt x="1578" y="2950"/>
                  </a:lnTo>
                  <a:lnTo>
                    <a:pt x="1593" y="2983"/>
                  </a:lnTo>
                  <a:lnTo>
                    <a:pt x="1677" y="3018"/>
                  </a:lnTo>
                  <a:lnTo>
                    <a:pt x="1656" y="2998"/>
                  </a:lnTo>
                  <a:lnTo>
                    <a:pt x="1654" y="2993"/>
                  </a:lnTo>
                  <a:lnTo>
                    <a:pt x="1679" y="3018"/>
                  </a:lnTo>
                  <a:lnTo>
                    <a:pt x="1651" y="2960"/>
                  </a:lnTo>
                  <a:lnTo>
                    <a:pt x="1671" y="2927"/>
                  </a:lnTo>
                  <a:lnTo>
                    <a:pt x="1694" y="2894"/>
                  </a:lnTo>
                  <a:lnTo>
                    <a:pt x="1702" y="2862"/>
                  </a:lnTo>
                  <a:lnTo>
                    <a:pt x="1689" y="2847"/>
                  </a:lnTo>
                  <a:lnTo>
                    <a:pt x="1687" y="2824"/>
                  </a:lnTo>
                  <a:lnTo>
                    <a:pt x="1722" y="2781"/>
                  </a:lnTo>
                  <a:lnTo>
                    <a:pt x="1740" y="2741"/>
                  </a:lnTo>
                  <a:lnTo>
                    <a:pt x="1727" y="2726"/>
                  </a:lnTo>
                  <a:lnTo>
                    <a:pt x="1752" y="2715"/>
                  </a:lnTo>
                  <a:lnTo>
                    <a:pt x="1780" y="2673"/>
                  </a:lnTo>
                  <a:lnTo>
                    <a:pt x="1828" y="2655"/>
                  </a:lnTo>
                  <a:lnTo>
                    <a:pt x="1848" y="2642"/>
                  </a:lnTo>
                  <a:lnTo>
                    <a:pt x="1856" y="2605"/>
                  </a:lnTo>
                  <a:lnTo>
                    <a:pt x="1840" y="2594"/>
                  </a:lnTo>
                  <a:lnTo>
                    <a:pt x="1840" y="2584"/>
                  </a:lnTo>
                  <a:lnTo>
                    <a:pt x="1850" y="2594"/>
                  </a:lnTo>
                  <a:lnTo>
                    <a:pt x="1876" y="2599"/>
                  </a:lnTo>
                  <a:lnTo>
                    <a:pt x="1901" y="2579"/>
                  </a:lnTo>
                  <a:lnTo>
                    <a:pt x="1906" y="2569"/>
                  </a:lnTo>
                  <a:lnTo>
                    <a:pt x="1903" y="2559"/>
                  </a:lnTo>
                  <a:lnTo>
                    <a:pt x="1906" y="2569"/>
                  </a:lnTo>
                  <a:lnTo>
                    <a:pt x="1914" y="2552"/>
                  </a:lnTo>
                  <a:lnTo>
                    <a:pt x="1934" y="2531"/>
                  </a:lnTo>
                  <a:lnTo>
                    <a:pt x="1959" y="2506"/>
                  </a:lnTo>
                  <a:lnTo>
                    <a:pt x="1982" y="2438"/>
                  </a:lnTo>
                  <a:lnTo>
                    <a:pt x="1997" y="2408"/>
                  </a:lnTo>
                  <a:lnTo>
                    <a:pt x="2055" y="2373"/>
                  </a:lnTo>
                  <a:lnTo>
                    <a:pt x="2090" y="2368"/>
                  </a:lnTo>
                  <a:lnTo>
                    <a:pt x="2100" y="2362"/>
                  </a:lnTo>
                  <a:lnTo>
                    <a:pt x="2110" y="2342"/>
                  </a:lnTo>
                  <a:lnTo>
                    <a:pt x="2118" y="2320"/>
                  </a:lnTo>
                  <a:lnTo>
                    <a:pt x="2133" y="2294"/>
                  </a:lnTo>
                  <a:lnTo>
                    <a:pt x="2138" y="2284"/>
                  </a:lnTo>
                  <a:lnTo>
                    <a:pt x="2143" y="2196"/>
                  </a:lnTo>
                  <a:lnTo>
                    <a:pt x="2158" y="2191"/>
                  </a:lnTo>
                  <a:lnTo>
                    <a:pt x="2211" y="2125"/>
                  </a:lnTo>
                  <a:lnTo>
                    <a:pt x="2211" y="2110"/>
                  </a:lnTo>
                  <a:lnTo>
                    <a:pt x="2201" y="2073"/>
                  </a:lnTo>
                  <a:close/>
                  <a:moveTo>
                    <a:pt x="1440" y="567"/>
                  </a:moveTo>
                  <a:lnTo>
                    <a:pt x="1445" y="570"/>
                  </a:lnTo>
                  <a:lnTo>
                    <a:pt x="1447" y="570"/>
                  </a:lnTo>
                  <a:lnTo>
                    <a:pt x="1450" y="572"/>
                  </a:lnTo>
                  <a:lnTo>
                    <a:pt x="1455" y="575"/>
                  </a:lnTo>
                  <a:lnTo>
                    <a:pt x="1457" y="575"/>
                  </a:lnTo>
                  <a:lnTo>
                    <a:pt x="1462" y="577"/>
                  </a:lnTo>
                  <a:lnTo>
                    <a:pt x="1467" y="577"/>
                  </a:lnTo>
                  <a:lnTo>
                    <a:pt x="1470" y="580"/>
                  </a:lnTo>
                  <a:lnTo>
                    <a:pt x="1472" y="580"/>
                  </a:lnTo>
                  <a:lnTo>
                    <a:pt x="1475" y="577"/>
                  </a:lnTo>
                  <a:lnTo>
                    <a:pt x="1475" y="575"/>
                  </a:lnTo>
                  <a:lnTo>
                    <a:pt x="1477" y="575"/>
                  </a:lnTo>
                  <a:lnTo>
                    <a:pt x="1480" y="570"/>
                  </a:lnTo>
                  <a:lnTo>
                    <a:pt x="1482" y="567"/>
                  </a:lnTo>
                  <a:lnTo>
                    <a:pt x="1480" y="565"/>
                  </a:lnTo>
                  <a:lnTo>
                    <a:pt x="1475" y="565"/>
                  </a:lnTo>
                  <a:lnTo>
                    <a:pt x="1472" y="562"/>
                  </a:lnTo>
                  <a:lnTo>
                    <a:pt x="1457" y="562"/>
                  </a:lnTo>
                  <a:lnTo>
                    <a:pt x="1455" y="560"/>
                  </a:lnTo>
                  <a:lnTo>
                    <a:pt x="1452" y="555"/>
                  </a:lnTo>
                  <a:lnTo>
                    <a:pt x="1450" y="550"/>
                  </a:lnTo>
                  <a:lnTo>
                    <a:pt x="1447" y="545"/>
                  </a:lnTo>
                  <a:lnTo>
                    <a:pt x="1442" y="545"/>
                  </a:lnTo>
                  <a:lnTo>
                    <a:pt x="1435" y="542"/>
                  </a:lnTo>
                  <a:lnTo>
                    <a:pt x="1429" y="540"/>
                  </a:lnTo>
                  <a:lnTo>
                    <a:pt x="1424" y="540"/>
                  </a:lnTo>
                  <a:lnTo>
                    <a:pt x="1419" y="540"/>
                  </a:lnTo>
                  <a:lnTo>
                    <a:pt x="1417" y="540"/>
                  </a:lnTo>
                  <a:lnTo>
                    <a:pt x="1414" y="542"/>
                  </a:lnTo>
                  <a:lnTo>
                    <a:pt x="1412" y="545"/>
                  </a:lnTo>
                  <a:lnTo>
                    <a:pt x="1409" y="545"/>
                  </a:lnTo>
                  <a:lnTo>
                    <a:pt x="1409" y="542"/>
                  </a:lnTo>
                  <a:lnTo>
                    <a:pt x="1407" y="535"/>
                  </a:lnTo>
                  <a:lnTo>
                    <a:pt x="1404" y="529"/>
                  </a:lnTo>
                  <a:lnTo>
                    <a:pt x="1402" y="527"/>
                  </a:lnTo>
                  <a:lnTo>
                    <a:pt x="1399" y="524"/>
                  </a:lnTo>
                  <a:lnTo>
                    <a:pt x="1394" y="524"/>
                  </a:lnTo>
                  <a:lnTo>
                    <a:pt x="1392" y="524"/>
                  </a:lnTo>
                  <a:lnTo>
                    <a:pt x="1392" y="529"/>
                  </a:lnTo>
                  <a:lnTo>
                    <a:pt x="1392" y="535"/>
                  </a:lnTo>
                  <a:lnTo>
                    <a:pt x="1392" y="542"/>
                  </a:lnTo>
                  <a:lnTo>
                    <a:pt x="1392" y="547"/>
                  </a:lnTo>
                  <a:lnTo>
                    <a:pt x="1392" y="550"/>
                  </a:lnTo>
                  <a:lnTo>
                    <a:pt x="1394" y="552"/>
                  </a:lnTo>
                  <a:lnTo>
                    <a:pt x="1394" y="555"/>
                  </a:lnTo>
                  <a:lnTo>
                    <a:pt x="1394" y="560"/>
                  </a:lnTo>
                  <a:lnTo>
                    <a:pt x="1394" y="565"/>
                  </a:lnTo>
                  <a:lnTo>
                    <a:pt x="1394" y="570"/>
                  </a:lnTo>
                  <a:lnTo>
                    <a:pt x="1397" y="575"/>
                  </a:lnTo>
                  <a:lnTo>
                    <a:pt x="1397" y="577"/>
                  </a:lnTo>
                  <a:lnTo>
                    <a:pt x="1394" y="577"/>
                  </a:lnTo>
                  <a:lnTo>
                    <a:pt x="1392" y="580"/>
                  </a:lnTo>
                  <a:lnTo>
                    <a:pt x="1389" y="585"/>
                  </a:lnTo>
                  <a:lnTo>
                    <a:pt x="1387" y="587"/>
                  </a:lnTo>
                  <a:lnTo>
                    <a:pt x="1384" y="590"/>
                  </a:lnTo>
                  <a:lnTo>
                    <a:pt x="1387" y="593"/>
                  </a:lnTo>
                  <a:lnTo>
                    <a:pt x="1392" y="593"/>
                  </a:lnTo>
                  <a:lnTo>
                    <a:pt x="1397" y="590"/>
                  </a:lnTo>
                  <a:lnTo>
                    <a:pt x="1399" y="590"/>
                  </a:lnTo>
                  <a:lnTo>
                    <a:pt x="1402" y="590"/>
                  </a:lnTo>
                  <a:lnTo>
                    <a:pt x="1407" y="590"/>
                  </a:lnTo>
                  <a:lnTo>
                    <a:pt x="1409" y="590"/>
                  </a:lnTo>
                  <a:lnTo>
                    <a:pt x="1412" y="593"/>
                  </a:lnTo>
                  <a:lnTo>
                    <a:pt x="1414" y="598"/>
                  </a:lnTo>
                  <a:lnTo>
                    <a:pt x="1414" y="600"/>
                  </a:lnTo>
                  <a:lnTo>
                    <a:pt x="1417" y="603"/>
                  </a:lnTo>
                  <a:lnTo>
                    <a:pt x="1419" y="603"/>
                  </a:lnTo>
                  <a:lnTo>
                    <a:pt x="1424" y="600"/>
                  </a:lnTo>
                  <a:lnTo>
                    <a:pt x="1424" y="598"/>
                  </a:lnTo>
                  <a:lnTo>
                    <a:pt x="1427" y="595"/>
                  </a:lnTo>
                  <a:lnTo>
                    <a:pt x="1427" y="593"/>
                  </a:lnTo>
                  <a:lnTo>
                    <a:pt x="1429" y="590"/>
                  </a:lnTo>
                  <a:lnTo>
                    <a:pt x="1435" y="587"/>
                  </a:lnTo>
                  <a:lnTo>
                    <a:pt x="1437" y="585"/>
                  </a:lnTo>
                  <a:lnTo>
                    <a:pt x="1437" y="580"/>
                  </a:lnTo>
                  <a:lnTo>
                    <a:pt x="1437" y="575"/>
                  </a:lnTo>
                  <a:lnTo>
                    <a:pt x="1435" y="570"/>
                  </a:lnTo>
                  <a:lnTo>
                    <a:pt x="1437" y="567"/>
                  </a:lnTo>
                  <a:lnTo>
                    <a:pt x="1440" y="567"/>
                  </a:lnTo>
                  <a:close/>
                  <a:moveTo>
                    <a:pt x="966" y="300"/>
                  </a:moveTo>
                  <a:lnTo>
                    <a:pt x="968" y="303"/>
                  </a:lnTo>
                  <a:lnTo>
                    <a:pt x="971" y="310"/>
                  </a:lnTo>
                  <a:lnTo>
                    <a:pt x="973" y="323"/>
                  </a:lnTo>
                  <a:lnTo>
                    <a:pt x="973" y="330"/>
                  </a:lnTo>
                  <a:lnTo>
                    <a:pt x="973" y="335"/>
                  </a:lnTo>
                  <a:lnTo>
                    <a:pt x="978" y="338"/>
                  </a:lnTo>
                  <a:lnTo>
                    <a:pt x="983" y="335"/>
                  </a:lnTo>
                  <a:lnTo>
                    <a:pt x="986" y="333"/>
                  </a:lnTo>
                  <a:lnTo>
                    <a:pt x="988" y="330"/>
                  </a:lnTo>
                  <a:lnTo>
                    <a:pt x="991" y="333"/>
                  </a:lnTo>
                  <a:lnTo>
                    <a:pt x="996" y="335"/>
                  </a:lnTo>
                  <a:lnTo>
                    <a:pt x="998" y="338"/>
                  </a:lnTo>
                  <a:lnTo>
                    <a:pt x="1003" y="335"/>
                  </a:lnTo>
                  <a:lnTo>
                    <a:pt x="1006" y="330"/>
                  </a:lnTo>
                  <a:lnTo>
                    <a:pt x="1011" y="323"/>
                  </a:lnTo>
                  <a:lnTo>
                    <a:pt x="1016" y="320"/>
                  </a:lnTo>
                  <a:lnTo>
                    <a:pt x="1024" y="318"/>
                  </a:lnTo>
                  <a:lnTo>
                    <a:pt x="1026" y="315"/>
                  </a:lnTo>
                  <a:lnTo>
                    <a:pt x="1026" y="310"/>
                  </a:lnTo>
                  <a:lnTo>
                    <a:pt x="1026" y="305"/>
                  </a:lnTo>
                  <a:lnTo>
                    <a:pt x="1029" y="305"/>
                  </a:lnTo>
                  <a:lnTo>
                    <a:pt x="1039" y="303"/>
                  </a:lnTo>
                  <a:lnTo>
                    <a:pt x="1044" y="300"/>
                  </a:lnTo>
                  <a:lnTo>
                    <a:pt x="1049" y="300"/>
                  </a:lnTo>
                  <a:lnTo>
                    <a:pt x="1054" y="298"/>
                  </a:lnTo>
                  <a:lnTo>
                    <a:pt x="1059" y="295"/>
                  </a:lnTo>
                  <a:lnTo>
                    <a:pt x="1064" y="295"/>
                  </a:lnTo>
                  <a:lnTo>
                    <a:pt x="1066" y="292"/>
                  </a:lnTo>
                  <a:lnTo>
                    <a:pt x="1066" y="290"/>
                  </a:lnTo>
                  <a:lnTo>
                    <a:pt x="1069" y="287"/>
                  </a:lnTo>
                  <a:lnTo>
                    <a:pt x="1066" y="285"/>
                  </a:lnTo>
                  <a:lnTo>
                    <a:pt x="1066" y="277"/>
                  </a:lnTo>
                  <a:lnTo>
                    <a:pt x="1064" y="270"/>
                  </a:lnTo>
                  <a:lnTo>
                    <a:pt x="1059" y="265"/>
                  </a:lnTo>
                  <a:lnTo>
                    <a:pt x="1056" y="262"/>
                  </a:lnTo>
                  <a:lnTo>
                    <a:pt x="1054" y="262"/>
                  </a:lnTo>
                  <a:lnTo>
                    <a:pt x="1049" y="262"/>
                  </a:lnTo>
                  <a:lnTo>
                    <a:pt x="1046" y="262"/>
                  </a:lnTo>
                  <a:lnTo>
                    <a:pt x="1044" y="257"/>
                  </a:lnTo>
                  <a:lnTo>
                    <a:pt x="1041" y="255"/>
                  </a:lnTo>
                  <a:lnTo>
                    <a:pt x="1039" y="250"/>
                  </a:lnTo>
                  <a:lnTo>
                    <a:pt x="1031" y="247"/>
                  </a:lnTo>
                  <a:lnTo>
                    <a:pt x="1026" y="247"/>
                  </a:lnTo>
                  <a:lnTo>
                    <a:pt x="1021" y="247"/>
                  </a:lnTo>
                  <a:lnTo>
                    <a:pt x="1019" y="245"/>
                  </a:lnTo>
                  <a:lnTo>
                    <a:pt x="1016" y="242"/>
                  </a:lnTo>
                  <a:lnTo>
                    <a:pt x="1011" y="242"/>
                  </a:lnTo>
                  <a:lnTo>
                    <a:pt x="1008" y="240"/>
                  </a:lnTo>
                  <a:lnTo>
                    <a:pt x="1006" y="242"/>
                  </a:lnTo>
                  <a:lnTo>
                    <a:pt x="1006" y="245"/>
                  </a:lnTo>
                  <a:lnTo>
                    <a:pt x="1006" y="250"/>
                  </a:lnTo>
                  <a:lnTo>
                    <a:pt x="1003" y="255"/>
                  </a:lnTo>
                  <a:lnTo>
                    <a:pt x="1003" y="257"/>
                  </a:lnTo>
                  <a:lnTo>
                    <a:pt x="998" y="260"/>
                  </a:lnTo>
                  <a:lnTo>
                    <a:pt x="993" y="267"/>
                  </a:lnTo>
                  <a:lnTo>
                    <a:pt x="986" y="272"/>
                  </a:lnTo>
                  <a:lnTo>
                    <a:pt x="983" y="277"/>
                  </a:lnTo>
                  <a:lnTo>
                    <a:pt x="978" y="282"/>
                  </a:lnTo>
                  <a:lnTo>
                    <a:pt x="971" y="287"/>
                  </a:lnTo>
                  <a:lnTo>
                    <a:pt x="966" y="295"/>
                  </a:lnTo>
                  <a:lnTo>
                    <a:pt x="963" y="300"/>
                  </a:lnTo>
                  <a:lnTo>
                    <a:pt x="966" y="300"/>
                  </a:lnTo>
                  <a:close/>
                  <a:moveTo>
                    <a:pt x="1498" y="494"/>
                  </a:moveTo>
                  <a:lnTo>
                    <a:pt x="1498" y="494"/>
                  </a:lnTo>
                  <a:lnTo>
                    <a:pt x="1498" y="492"/>
                  </a:lnTo>
                  <a:lnTo>
                    <a:pt x="1498" y="489"/>
                  </a:lnTo>
                  <a:lnTo>
                    <a:pt x="1495" y="489"/>
                  </a:lnTo>
                  <a:lnTo>
                    <a:pt x="1495" y="492"/>
                  </a:lnTo>
                  <a:lnTo>
                    <a:pt x="1498" y="494"/>
                  </a:lnTo>
                  <a:close/>
                </a:path>
              </a:pathLst>
            </a:custGeom>
            <a:solidFill>
              <a:srgbClr val="DDDDDD"/>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prstClr val="black"/>
                </a:solidFill>
              </a:endParaRPr>
            </a:p>
          </p:txBody>
        </p:sp>
        <p:sp>
          <p:nvSpPr>
            <p:cNvPr id="10246" name="Freeform 8"/>
            <p:cNvSpPr>
              <a:spLocks/>
            </p:cNvSpPr>
            <p:nvPr/>
          </p:nvSpPr>
          <p:spPr bwMode="auto">
            <a:xfrm>
              <a:off x="3218" y="2127"/>
              <a:ext cx="46" cy="28"/>
            </a:xfrm>
            <a:custGeom>
              <a:avLst/>
              <a:gdLst>
                <a:gd name="T0" fmla="*/ 0 w 46"/>
                <a:gd name="T1" fmla="*/ 15 h 28"/>
                <a:gd name="T2" fmla="*/ 3 w 46"/>
                <a:gd name="T3" fmla="*/ 17 h 28"/>
                <a:gd name="T4" fmla="*/ 12 w 46"/>
                <a:gd name="T5" fmla="*/ 14 h 28"/>
                <a:gd name="T6" fmla="*/ 13 w 46"/>
                <a:gd name="T7" fmla="*/ 8 h 28"/>
                <a:gd name="T8" fmla="*/ 27 w 46"/>
                <a:gd name="T9" fmla="*/ 9 h 28"/>
                <a:gd name="T10" fmla="*/ 46 w 46"/>
                <a:gd name="T11" fmla="*/ 0 h 28"/>
                <a:gd name="T12" fmla="*/ 46 w 46"/>
                <a:gd name="T13" fmla="*/ 1 h 28"/>
                <a:gd name="T14" fmla="*/ 33 w 46"/>
                <a:gd name="T15" fmla="*/ 11 h 28"/>
                <a:gd name="T16" fmla="*/ 36 w 46"/>
                <a:gd name="T17" fmla="*/ 18 h 28"/>
                <a:gd name="T18" fmla="*/ 27 w 46"/>
                <a:gd name="T19" fmla="*/ 21 h 28"/>
                <a:gd name="T20" fmla="*/ 15 w 46"/>
                <a:gd name="T21" fmla="*/ 28 h 28"/>
                <a:gd name="T22" fmla="*/ 13 w 46"/>
                <a:gd name="T23" fmla="*/ 28 h 28"/>
                <a:gd name="T24" fmla="*/ 8 w 46"/>
                <a:gd name="T25" fmla="*/ 26 h 28"/>
                <a:gd name="T26" fmla="*/ 2 w 46"/>
                <a:gd name="T27" fmla="*/ 23 h 28"/>
                <a:gd name="T28" fmla="*/ 0 w 46"/>
                <a:gd name="T29" fmla="*/ 15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rgbClr val="DDDDDD"/>
            </a:solidFill>
            <a:ln>
              <a:noFill/>
            </a:ln>
            <a:effectLst/>
            <a:extLst>
              <a:ext uri="{91240B29-F687-4F45-9708-019B960494DF}">
                <a14:hiddenLine xmlns:a14="http://schemas.microsoft.com/office/drawing/2010/main" w="9525" cap="flat" cmpd="sng">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prstClr val="black"/>
                </a:solidFill>
              </a:endParaRPr>
            </a:p>
          </p:txBody>
        </p:sp>
      </p:grpSp>
      <p:sp>
        <p:nvSpPr>
          <p:cNvPr id="2" name="Rectangle 1"/>
          <p:cNvSpPr/>
          <p:nvPr/>
        </p:nvSpPr>
        <p:spPr>
          <a:xfrm>
            <a:off x="0" y="0"/>
            <a:ext cx="9144000" cy="6858000"/>
          </a:xfrm>
          <a:prstGeom prst="rect">
            <a:avLst/>
          </a:prstGeom>
          <a:solidFill>
            <a:schemeClr val="tx2">
              <a:lumMod val="50000"/>
              <a:alpha val="7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228600" y="457200"/>
            <a:ext cx="8715376" cy="6247864"/>
          </a:xfrm>
          <a:prstGeom prst="rect">
            <a:avLst/>
          </a:prstGeom>
          <a:noFill/>
        </p:spPr>
        <p:txBody>
          <a:bodyPr wrap="square" rtlCol="0">
            <a:spAutoFit/>
          </a:bodyPr>
          <a:lstStyle/>
          <a:p>
            <a:pPr marL="973138" indent="-973138"/>
            <a:endParaRPr lang="en-US" sz="7200" b="1" dirty="0" smtClean="0">
              <a:solidFill>
                <a:srgbClr val="C00000"/>
              </a:solidFill>
              <a:latin typeface="Roboto" panose="02000000000000000000" pitchFamily="2" charset="0"/>
              <a:ea typeface="Roboto" panose="02000000000000000000" pitchFamily="2" charset="0"/>
              <a:cs typeface="Roboto" panose="02000000000000000000" pitchFamily="2" charset="0"/>
            </a:endParaRPr>
          </a:p>
          <a:p>
            <a:pPr marL="1887538" lvl="2" indent="-973138"/>
            <a:r>
              <a:rPr lang="en-US" sz="7200" b="1" dirty="0" smtClean="0">
                <a:solidFill>
                  <a:prstClr val="white"/>
                </a:solidFill>
                <a:latin typeface="Roboto" panose="02000000000000000000" pitchFamily="2" charset="0"/>
                <a:ea typeface="Roboto" panose="02000000000000000000" pitchFamily="2" charset="0"/>
                <a:cs typeface="Roboto" panose="02000000000000000000" pitchFamily="2" charset="0"/>
              </a:rPr>
              <a:t>15</a:t>
            </a:r>
            <a:r>
              <a:rPr lang="en-US" sz="4400" dirty="0" smtClean="0">
                <a:solidFill>
                  <a:prstClr val="white"/>
                </a:solidFill>
                <a:latin typeface="Roboto" panose="02000000000000000000" pitchFamily="2" charset="0"/>
                <a:ea typeface="Roboto" panose="02000000000000000000" pitchFamily="2" charset="0"/>
                <a:cs typeface="Roboto" panose="02000000000000000000" pitchFamily="2" charset="0"/>
              </a:rPr>
              <a:t> </a:t>
            </a:r>
            <a:r>
              <a:rPr lang="en-US" sz="2800" dirty="0">
                <a:solidFill>
                  <a:prstClr val="white"/>
                </a:solidFill>
                <a:latin typeface="Roboto" panose="02000000000000000000" pitchFamily="2" charset="0"/>
                <a:ea typeface="Roboto" panose="02000000000000000000" pitchFamily="2" charset="0"/>
                <a:cs typeface="Roboto" panose="02000000000000000000" pitchFamily="2" charset="0"/>
              </a:rPr>
              <a:t>clinic calls</a:t>
            </a:r>
          </a:p>
          <a:p>
            <a:pPr marL="2344738" lvl="3" indent="-973138"/>
            <a:r>
              <a:rPr lang="en-US" sz="7200" b="1" dirty="0">
                <a:solidFill>
                  <a:prstClr val="white"/>
                </a:solidFill>
                <a:latin typeface="Roboto" panose="02000000000000000000" pitchFamily="2" charset="0"/>
                <a:ea typeface="Roboto" panose="02000000000000000000" pitchFamily="2" charset="0"/>
                <a:cs typeface="Roboto" panose="02000000000000000000" pitchFamily="2" charset="0"/>
              </a:rPr>
              <a:t>11</a:t>
            </a:r>
            <a:r>
              <a:rPr lang="en-US" sz="7200" dirty="0">
                <a:solidFill>
                  <a:prstClr val="white"/>
                </a:solidFill>
                <a:latin typeface="Roboto" panose="02000000000000000000" pitchFamily="2" charset="0"/>
                <a:ea typeface="Roboto" panose="02000000000000000000" pitchFamily="2" charset="0"/>
                <a:cs typeface="Roboto" panose="02000000000000000000" pitchFamily="2" charset="0"/>
              </a:rPr>
              <a:t> </a:t>
            </a:r>
            <a:r>
              <a:rPr lang="en-US" sz="2800" dirty="0">
                <a:solidFill>
                  <a:prstClr val="white"/>
                </a:solidFill>
                <a:latin typeface="Roboto" panose="02000000000000000000" pitchFamily="2" charset="0"/>
                <a:ea typeface="Roboto" panose="02000000000000000000" pitchFamily="2" charset="0"/>
                <a:cs typeface="Roboto" panose="02000000000000000000" pitchFamily="2" charset="0"/>
              </a:rPr>
              <a:t>patient calls</a:t>
            </a:r>
          </a:p>
          <a:p>
            <a:pPr marL="3090863" lvl="4" indent="-1262063"/>
            <a:r>
              <a:rPr lang="en-US" sz="7200" b="1" dirty="0">
                <a:solidFill>
                  <a:prstClr val="white"/>
                </a:solidFill>
                <a:latin typeface="Roboto" panose="02000000000000000000" pitchFamily="2" charset="0"/>
                <a:ea typeface="Roboto" panose="02000000000000000000" pitchFamily="2" charset="0"/>
                <a:cs typeface="Roboto" panose="02000000000000000000" pitchFamily="2" charset="0"/>
              </a:rPr>
              <a:t>44 </a:t>
            </a:r>
            <a:r>
              <a:rPr lang="en-US" sz="2800" dirty="0">
                <a:solidFill>
                  <a:prstClr val="white"/>
                </a:solidFill>
                <a:latin typeface="Roboto" panose="02000000000000000000" pitchFamily="2" charset="0"/>
                <a:ea typeface="Roboto" panose="02000000000000000000" pitchFamily="2" charset="0"/>
                <a:cs typeface="Roboto" panose="02000000000000000000" pitchFamily="2" charset="0"/>
              </a:rPr>
              <a:t>pages of medical records sent to two </a:t>
            </a:r>
            <a:r>
              <a:rPr lang="en-US" sz="2800" dirty="0" smtClean="0">
                <a:solidFill>
                  <a:prstClr val="white"/>
                </a:solidFill>
                <a:latin typeface="Roboto" panose="02000000000000000000" pitchFamily="2" charset="0"/>
                <a:ea typeface="Roboto" panose="02000000000000000000" pitchFamily="2" charset="0"/>
                <a:cs typeface="Roboto" panose="02000000000000000000" pitchFamily="2" charset="0"/>
              </a:rPr>
              <a:t>locations</a:t>
            </a:r>
          </a:p>
          <a:p>
            <a:pPr marL="1262063" indent="-1262063"/>
            <a:endParaRPr lang="en-US" sz="2800" dirty="0">
              <a:solidFill>
                <a:prstClr val="black"/>
              </a:solidFill>
              <a:latin typeface="Roboto" panose="02000000000000000000" pitchFamily="2" charset="0"/>
              <a:ea typeface="Roboto" panose="02000000000000000000" pitchFamily="2" charset="0"/>
              <a:cs typeface="Roboto" panose="02000000000000000000" pitchFamily="2" charset="0"/>
            </a:endParaRPr>
          </a:p>
          <a:p>
            <a:pPr marL="1262063" indent="-1262063"/>
            <a:endParaRPr lang="en-US" sz="2800" dirty="0" smtClean="0">
              <a:solidFill>
                <a:prstClr val="black"/>
              </a:solidFill>
              <a:latin typeface="Roboto" panose="02000000000000000000" pitchFamily="2" charset="0"/>
              <a:ea typeface="Roboto" panose="02000000000000000000" pitchFamily="2" charset="0"/>
              <a:cs typeface="Roboto" panose="02000000000000000000" pitchFamily="2" charset="0"/>
            </a:endParaRPr>
          </a:p>
          <a:p>
            <a:pPr marL="1262063" indent="-1262063"/>
            <a:endParaRPr lang="en-US" sz="2800" dirty="0">
              <a:solidFill>
                <a:prstClr val="black"/>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870254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fade">
                                      <p:cBhvr>
                                        <p:cTn id="1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 y="228600"/>
            <a:ext cx="2008636" cy="1944628"/>
          </a:xfrm>
          <a:prstGeom prst="rect">
            <a:avLst/>
          </a:prstGeom>
        </p:spPr>
      </p:pic>
      <p:sp>
        <p:nvSpPr>
          <p:cNvPr id="3" name="Rectangle 2"/>
          <p:cNvSpPr/>
          <p:nvPr/>
        </p:nvSpPr>
        <p:spPr>
          <a:xfrm>
            <a:off x="2618236" y="905448"/>
            <a:ext cx="5916164" cy="757130"/>
          </a:xfrm>
          <a:prstGeom prst="rect">
            <a:avLst/>
          </a:prstGeom>
        </p:spPr>
        <p:txBody>
          <a:bodyPr wrap="square">
            <a:spAutoFit/>
          </a:bodyPr>
          <a:lstStyle/>
          <a:p>
            <a:pPr>
              <a:lnSpc>
                <a:spcPct val="90000"/>
              </a:lnSpc>
              <a:defRPr/>
            </a:pPr>
            <a:r>
              <a:rPr lang="en-US" sz="2400" dirty="0" smtClean="0">
                <a:latin typeface="Roboto" panose="02000000000000000000" pitchFamily="2" charset="0"/>
                <a:ea typeface="Roboto" panose="02000000000000000000" pitchFamily="2" charset="0"/>
                <a:cs typeface="Roboto" panose="02000000000000000000" pitchFamily="2" charset="0"/>
              </a:rPr>
              <a:t>Contacts </a:t>
            </a:r>
            <a:r>
              <a:rPr lang="en-US" sz="2400" dirty="0">
                <a:latin typeface="Roboto" panose="02000000000000000000" pitchFamily="2" charset="0"/>
                <a:ea typeface="Roboto" panose="02000000000000000000" pitchFamily="2" charset="0"/>
                <a:cs typeface="Roboto" panose="02000000000000000000" pitchFamily="2" charset="0"/>
              </a:rPr>
              <a:t>patients on a scheduled </a:t>
            </a:r>
            <a:r>
              <a:rPr lang="en-US" sz="2400" dirty="0" smtClean="0">
                <a:latin typeface="Roboto" panose="02000000000000000000" pitchFamily="2" charset="0"/>
                <a:ea typeface="Roboto" panose="02000000000000000000" pitchFamily="2" charset="0"/>
                <a:cs typeface="Roboto" panose="02000000000000000000" pitchFamily="2" charset="0"/>
              </a:rPr>
              <a:t>basis</a:t>
            </a:r>
            <a:br>
              <a:rPr lang="en-US" sz="2400" dirty="0" smtClean="0">
                <a:latin typeface="Roboto" panose="02000000000000000000" pitchFamily="2" charset="0"/>
                <a:ea typeface="Roboto" panose="02000000000000000000" pitchFamily="2" charset="0"/>
                <a:cs typeface="Roboto" panose="02000000000000000000" pitchFamily="2" charset="0"/>
              </a:rPr>
            </a:br>
            <a:r>
              <a:rPr lang="en-US" sz="2400" dirty="0" smtClean="0">
                <a:latin typeface="Roboto" panose="02000000000000000000" pitchFamily="2" charset="0"/>
                <a:ea typeface="Roboto" panose="02000000000000000000" pitchFamily="2" charset="0"/>
                <a:cs typeface="Roboto" panose="02000000000000000000" pitchFamily="2" charset="0"/>
              </a:rPr>
              <a:t>(monthly for TB patients)</a:t>
            </a:r>
            <a:endParaRPr lang="en-US" sz="2400" dirty="0">
              <a:latin typeface="Roboto" panose="02000000000000000000" pitchFamily="2" charset="0"/>
              <a:ea typeface="Roboto" panose="02000000000000000000" pitchFamily="2" charset="0"/>
              <a:cs typeface="Roboto" panose="02000000000000000000" pitchFamily="2" charset="0"/>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05000" y="2286000"/>
            <a:ext cx="2086191" cy="1173482"/>
          </a:xfrm>
          <a:prstGeom prst="rect">
            <a:avLst/>
          </a:prstGeom>
        </p:spPr>
      </p:pic>
      <p:sp>
        <p:nvSpPr>
          <p:cNvPr id="5" name="Rectangle 4"/>
          <p:cNvSpPr/>
          <p:nvPr/>
        </p:nvSpPr>
        <p:spPr>
          <a:xfrm>
            <a:off x="3991191" y="2819400"/>
            <a:ext cx="4014240" cy="424732"/>
          </a:xfrm>
          <a:prstGeom prst="rect">
            <a:avLst/>
          </a:prstGeom>
        </p:spPr>
        <p:txBody>
          <a:bodyPr wrap="none">
            <a:spAutoFit/>
          </a:bodyPr>
          <a:lstStyle/>
          <a:p>
            <a:pPr>
              <a:lnSpc>
                <a:spcPct val="90000"/>
              </a:lnSpc>
              <a:defRPr/>
            </a:pPr>
            <a:r>
              <a:rPr lang="en-US" sz="2400" dirty="0" smtClean="0">
                <a:latin typeface="Roboto" panose="02000000000000000000" pitchFamily="2" charset="0"/>
                <a:ea typeface="Roboto" panose="02000000000000000000" pitchFamily="2" charset="0"/>
                <a:cs typeface="Roboto" panose="02000000000000000000" pitchFamily="2" charset="0"/>
              </a:rPr>
              <a:t>Contacts </a:t>
            </a:r>
            <a:r>
              <a:rPr lang="en-US" sz="2400" dirty="0">
                <a:latin typeface="Roboto" panose="02000000000000000000" pitchFamily="2" charset="0"/>
                <a:ea typeface="Roboto" panose="02000000000000000000" pitchFamily="2" charset="0"/>
                <a:cs typeface="Roboto" panose="02000000000000000000" pitchFamily="2" charset="0"/>
              </a:rPr>
              <a:t>TB clinics monthly</a:t>
            </a:r>
          </a:p>
        </p:txBody>
      </p:sp>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8600" y="3810000"/>
            <a:ext cx="2201520" cy="1203068"/>
          </a:xfrm>
          <a:prstGeom prst="rect">
            <a:avLst/>
          </a:prstGeom>
        </p:spPr>
      </p:pic>
      <p:sp>
        <p:nvSpPr>
          <p:cNvPr id="7" name="Rectangle 6"/>
          <p:cNvSpPr/>
          <p:nvPr/>
        </p:nvSpPr>
        <p:spPr>
          <a:xfrm>
            <a:off x="2434474" y="4114800"/>
            <a:ext cx="6176126" cy="830997"/>
          </a:xfrm>
          <a:prstGeom prst="rect">
            <a:avLst/>
          </a:prstGeom>
        </p:spPr>
        <p:txBody>
          <a:bodyPr wrap="square">
            <a:spAutoFit/>
          </a:bodyPr>
          <a:lstStyle/>
          <a:p>
            <a:r>
              <a:rPr lang="en-US" sz="2400" dirty="0">
                <a:latin typeface="Roboto" panose="02000000000000000000" pitchFamily="2" charset="0"/>
                <a:ea typeface="Roboto" panose="02000000000000000000" pitchFamily="2" charset="0"/>
                <a:cs typeface="Roboto" panose="02000000000000000000" pitchFamily="2" charset="0"/>
              </a:rPr>
              <a:t>Assists patients in locating clinics for services and resources</a:t>
            </a:r>
          </a:p>
        </p:txBody>
      </p:sp>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11890" y="5257800"/>
            <a:ext cx="1347545" cy="1447800"/>
          </a:xfrm>
          <a:prstGeom prst="rect">
            <a:avLst/>
          </a:prstGeom>
        </p:spPr>
      </p:pic>
      <p:sp>
        <p:nvSpPr>
          <p:cNvPr id="9" name="Rectangle 8"/>
          <p:cNvSpPr/>
          <p:nvPr/>
        </p:nvSpPr>
        <p:spPr>
          <a:xfrm>
            <a:off x="3681830" y="5567470"/>
            <a:ext cx="5203089" cy="757130"/>
          </a:xfrm>
          <a:prstGeom prst="rect">
            <a:avLst/>
          </a:prstGeom>
        </p:spPr>
        <p:txBody>
          <a:bodyPr wrap="square">
            <a:spAutoFit/>
          </a:bodyPr>
          <a:lstStyle/>
          <a:p>
            <a:pPr>
              <a:lnSpc>
                <a:spcPct val="90000"/>
              </a:lnSpc>
              <a:defRPr/>
            </a:pPr>
            <a:r>
              <a:rPr lang="en-US" sz="2400" dirty="0">
                <a:latin typeface="Roboto" panose="02000000000000000000" pitchFamily="2" charset="0"/>
                <a:ea typeface="Roboto" panose="02000000000000000000" pitchFamily="2" charset="0"/>
                <a:cs typeface="Roboto" panose="02000000000000000000" pitchFamily="2" charset="0"/>
              </a:rPr>
              <a:t>Reports back to the enrolling clinic and notifies them of </a:t>
            </a:r>
            <a:r>
              <a:rPr lang="en-US" sz="2400" dirty="0" smtClean="0">
                <a:latin typeface="Roboto" panose="02000000000000000000" pitchFamily="2" charset="0"/>
                <a:ea typeface="Roboto" panose="02000000000000000000" pitchFamily="2" charset="0"/>
                <a:cs typeface="Roboto" panose="02000000000000000000" pitchFamily="2" charset="0"/>
              </a:rPr>
              <a:t>outcomes</a:t>
            </a:r>
            <a:endParaRPr lang="en-US" sz="240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235488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7" grpId="0"/>
      <p:bldP spid="9"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4572000" cy="6858000"/>
          </a:xfrm>
          <a:prstGeom prst="rect">
            <a:avLst/>
          </a:prstGeom>
        </p:spPr>
      </p:pic>
      <p:sp>
        <p:nvSpPr>
          <p:cNvPr id="3" name="Rectangle 2"/>
          <p:cNvSpPr/>
          <p:nvPr/>
        </p:nvSpPr>
        <p:spPr>
          <a:xfrm>
            <a:off x="4953000" y="1600200"/>
            <a:ext cx="3886200" cy="3416320"/>
          </a:xfrm>
          <a:prstGeom prst="rect">
            <a:avLst/>
          </a:prstGeom>
        </p:spPr>
        <p:txBody>
          <a:bodyPr wrap="square">
            <a:spAutoFit/>
          </a:bodyPr>
          <a:lstStyle/>
          <a:p>
            <a:pPr>
              <a:spcBef>
                <a:spcPct val="50000"/>
              </a:spcBef>
            </a:pPr>
            <a:r>
              <a:rPr lang="en-US" altLang="en-US" sz="7200" dirty="0">
                <a:latin typeface="Roboto" panose="02000000000000000000" pitchFamily="2" charset="0"/>
                <a:ea typeface="Roboto" panose="02000000000000000000" pitchFamily="2" charset="0"/>
                <a:cs typeface="Roboto" panose="02000000000000000000" pitchFamily="2" charset="0"/>
              </a:rPr>
              <a:t>The Patient’s Role…</a:t>
            </a:r>
          </a:p>
        </p:txBody>
      </p:sp>
    </p:spTree>
    <p:extLst>
      <p:ext uri="{BB962C8B-B14F-4D97-AF65-F5344CB8AC3E}">
        <p14:creationId xmlns:p14="http://schemas.microsoft.com/office/powerpoint/2010/main" val="215503929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8200" y="2519589"/>
            <a:ext cx="7543800" cy="4338411"/>
          </a:xfrm>
          <a:prstGeom prst="rect">
            <a:avLst/>
          </a:prstGeom>
        </p:spPr>
      </p:pic>
      <p:pic>
        <p:nvPicPr>
          <p:cNvPr id="3" name="Picture 2"/>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3505200" y="473418"/>
            <a:ext cx="3124200" cy="3124200"/>
          </a:xfrm>
          <a:prstGeom prst="rect">
            <a:avLst/>
          </a:prstGeom>
        </p:spPr>
      </p:pic>
      <p:sp>
        <p:nvSpPr>
          <p:cNvPr id="4" name="TextBox 3"/>
          <p:cNvSpPr txBox="1"/>
          <p:nvPr/>
        </p:nvSpPr>
        <p:spPr>
          <a:xfrm>
            <a:off x="228600" y="119743"/>
            <a:ext cx="2667000" cy="3477875"/>
          </a:xfrm>
          <a:prstGeom prst="rect">
            <a:avLst/>
          </a:prstGeom>
          <a:noFill/>
        </p:spPr>
        <p:txBody>
          <a:bodyPr wrap="square" rtlCol="0">
            <a:spAutoFit/>
          </a:bodyPr>
          <a:lstStyle/>
          <a:p>
            <a:r>
              <a:rPr lang="en-US" sz="4400" dirty="0" smtClean="0">
                <a:latin typeface="Roboto" panose="02000000000000000000" pitchFamily="2" charset="0"/>
                <a:ea typeface="Roboto" panose="02000000000000000000" pitchFamily="2" charset="0"/>
                <a:cs typeface="Roboto" panose="02000000000000000000" pitchFamily="2" charset="0"/>
              </a:rPr>
              <a:t>As many phone numbers as possible</a:t>
            </a:r>
            <a:endParaRPr lang="en-US" sz="4400" dirty="0">
              <a:latin typeface="Roboto" panose="02000000000000000000" pitchFamily="2" charset="0"/>
              <a:ea typeface="Roboto" panose="02000000000000000000" pitchFamily="2" charset="0"/>
              <a:cs typeface="Roboto" panose="02000000000000000000" pitchFamily="2" charset="0"/>
            </a:endParaRPr>
          </a:p>
        </p:txBody>
      </p:sp>
      <p:sp>
        <p:nvSpPr>
          <p:cNvPr id="5" name="TextBox 4"/>
          <p:cNvSpPr txBox="1"/>
          <p:nvPr/>
        </p:nvSpPr>
        <p:spPr>
          <a:xfrm>
            <a:off x="3966678" y="914400"/>
            <a:ext cx="2204450" cy="523220"/>
          </a:xfrm>
          <a:prstGeom prst="rect">
            <a:avLst/>
          </a:prstGeom>
          <a:noFill/>
        </p:spPr>
        <p:txBody>
          <a:bodyPr wrap="none" rtlCol="0">
            <a:spAutoFit/>
          </a:bodyPr>
          <a:lstStyle/>
          <a:p>
            <a:r>
              <a:rPr lang="en-US" sz="2800" dirty="0" smtClean="0"/>
              <a:t>###-###-####</a:t>
            </a:r>
            <a:endParaRPr lang="en-US" sz="2800" dirty="0"/>
          </a:p>
        </p:txBody>
      </p:sp>
      <p:sp>
        <p:nvSpPr>
          <p:cNvPr id="6" name="TextBox 5"/>
          <p:cNvSpPr txBox="1"/>
          <p:nvPr/>
        </p:nvSpPr>
        <p:spPr>
          <a:xfrm>
            <a:off x="3991487" y="1432756"/>
            <a:ext cx="2201244" cy="523220"/>
          </a:xfrm>
          <a:prstGeom prst="rect">
            <a:avLst/>
          </a:prstGeom>
          <a:noFill/>
        </p:spPr>
        <p:txBody>
          <a:bodyPr wrap="none" rtlCol="0">
            <a:spAutoFit/>
          </a:bodyPr>
          <a:lstStyle/>
          <a:p>
            <a:r>
              <a:rPr lang="en-US" sz="2800" dirty="0" smtClean="0"/>
              <a:t>###-###-####</a:t>
            </a:r>
            <a:endParaRPr lang="en-US" sz="2800" dirty="0"/>
          </a:p>
        </p:txBody>
      </p:sp>
      <p:sp>
        <p:nvSpPr>
          <p:cNvPr id="7" name="TextBox 6"/>
          <p:cNvSpPr txBox="1"/>
          <p:nvPr/>
        </p:nvSpPr>
        <p:spPr>
          <a:xfrm>
            <a:off x="3964906" y="1996369"/>
            <a:ext cx="2201244" cy="523220"/>
          </a:xfrm>
          <a:prstGeom prst="rect">
            <a:avLst/>
          </a:prstGeom>
          <a:noFill/>
        </p:spPr>
        <p:txBody>
          <a:bodyPr wrap="none" rtlCol="0">
            <a:spAutoFit/>
          </a:bodyPr>
          <a:lstStyle/>
          <a:p>
            <a:r>
              <a:rPr lang="en-US" sz="2800" dirty="0" smtClean="0"/>
              <a:t>###-###-####</a:t>
            </a:r>
            <a:endParaRPr lang="en-US" sz="2800" dirty="0"/>
          </a:p>
        </p:txBody>
      </p:sp>
    </p:spTree>
    <p:extLst>
      <p:ext uri="{BB962C8B-B14F-4D97-AF65-F5344CB8AC3E}">
        <p14:creationId xmlns:p14="http://schemas.microsoft.com/office/powerpoint/2010/main" val="23636735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43400" y="914400"/>
            <a:ext cx="4381502" cy="6577406"/>
          </a:xfrm>
          <a:prstGeom prst="rect">
            <a:avLst/>
          </a:prstGeom>
        </p:spPr>
      </p:pic>
      <p:sp>
        <p:nvSpPr>
          <p:cNvPr id="3" name="TextBox 2"/>
          <p:cNvSpPr txBox="1"/>
          <p:nvPr/>
        </p:nvSpPr>
        <p:spPr>
          <a:xfrm>
            <a:off x="431074" y="329147"/>
            <a:ext cx="4114800" cy="6001643"/>
          </a:xfrm>
          <a:prstGeom prst="rect">
            <a:avLst/>
          </a:prstGeom>
          <a:noFill/>
        </p:spPr>
        <p:txBody>
          <a:bodyPr wrap="square" rtlCol="0">
            <a:spAutoFit/>
          </a:bodyPr>
          <a:lstStyle/>
          <a:p>
            <a:r>
              <a:rPr lang="en-US" sz="4800" dirty="0" smtClean="0">
                <a:latin typeface="Roboto" panose="02000000000000000000" pitchFamily="2" charset="0"/>
                <a:ea typeface="Roboto" panose="02000000000000000000" pitchFamily="2" charset="0"/>
                <a:cs typeface="Roboto" panose="02000000000000000000" pitchFamily="2" charset="0"/>
              </a:rPr>
              <a:t>Inform HN of any phone or address changes and contact HN staff after arriving in a new area</a:t>
            </a:r>
            <a:endParaRPr lang="en-US" sz="480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80289160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7200" y="1905000"/>
            <a:ext cx="5430862" cy="5257800"/>
          </a:xfrm>
          <a:prstGeom prst="rect">
            <a:avLst/>
          </a:prstGeom>
        </p:spPr>
      </p:pic>
      <p:sp>
        <p:nvSpPr>
          <p:cNvPr id="3" name="TextBox 2"/>
          <p:cNvSpPr txBox="1"/>
          <p:nvPr/>
        </p:nvSpPr>
        <p:spPr>
          <a:xfrm>
            <a:off x="4578531" y="609600"/>
            <a:ext cx="4114800" cy="3046988"/>
          </a:xfrm>
          <a:prstGeom prst="rect">
            <a:avLst/>
          </a:prstGeom>
          <a:noFill/>
        </p:spPr>
        <p:txBody>
          <a:bodyPr wrap="square" rtlCol="0">
            <a:spAutoFit/>
          </a:bodyPr>
          <a:lstStyle/>
          <a:p>
            <a:r>
              <a:rPr lang="en-US" sz="4800" dirty="0" smtClean="0">
                <a:latin typeface="Roboto" panose="02000000000000000000" pitchFamily="2" charset="0"/>
                <a:ea typeface="Roboto" panose="02000000000000000000" pitchFamily="2" charset="0"/>
                <a:cs typeface="Roboto" panose="02000000000000000000" pitchFamily="2" charset="0"/>
              </a:rPr>
              <a:t>Stay on treatment as long as indicated</a:t>
            </a:r>
            <a:endParaRPr lang="en-US" sz="480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76456954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0"/>
            <a:ext cx="9144000" cy="68378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37491" y="0"/>
            <a:ext cx="9181491" cy="6858000"/>
          </a:xfrm>
          <a:prstGeom prst="rect">
            <a:avLst/>
          </a:prstGeom>
          <a:gradFill flip="none" rotWithShape="1">
            <a:gsLst>
              <a:gs pos="0">
                <a:schemeClr val="accent1">
                  <a:tint val="66000"/>
                  <a:satMod val="160000"/>
                  <a:alpha val="14000"/>
                  <a:lumMod val="0"/>
                  <a:lumOff val="100000"/>
                </a:schemeClr>
              </a:gs>
              <a:gs pos="50000">
                <a:schemeClr val="accent1">
                  <a:tint val="44500"/>
                  <a:satMod val="160000"/>
                  <a:alpha val="65000"/>
                </a:schemeClr>
              </a:gs>
              <a:gs pos="100000">
                <a:schemeClr val="accent1">
                  <a:tint val="23500"/>
                  <a:satMod val="1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endParaRPr>
          </a:p>
        </p:txBody>
      </p:sp>
      <p:sp>
        <p:nvSpPr>
          <p:cNvPr id="3" name="Rectangle 2"/>
          <p:cNvSpPr/>
          <p:nvPr/>
        </p:nvSpPr>
        <p:spPr>
          <a:xfrm>
            <a:off x="304800" y="304800"/>
            <a:ext cx="6172200" cy="2954655"/>
          </a:xfrm>
          <a:prstGeom prst="rect">
            <a:avLst/>
          </a:prstGeom>
          <a:effectLst>
            <a:outerShdw blurRad="50800" dist="38100" algn="l" rotWithShape="0">
              <a:prstClr val="black">
                <a:alpha val="40000"/>
              </a:prstClr>
            </a:outerShdw>
          </a:effectLst>
        </p:spPr>
        <p:txBody>
          <a:bodyPr wrap="square">
            <a:spAutoFit/>
          </a:bodyPr>
          <a:lstStyle/>
          <a:p>
            <a:pPr fontAlgn="base">
              <a:spcBef>
                <a:spcPts val="600"/>
              </a:spcBef>
              <a:spcAft>
                <a:spcPts val="600"/>
              </a:spcAft>
            </a:pPr>
            <a:r>
              <a:rPr lang="en-US" altLang="en-US" sz="4400" b="1" dirty="0" smtClean="0">
                <a:ln w="6350">
                  <a:solidFill>
                    <a:srgbClr val="D3D3D3">
                      <a:lumMod val="25000"/>
                    </a:srgbClr>
                  </a:solidFill>
                  <a:prstDash val="solid"/>
                </a:ln>
                <a:solidFill>
                  <a:srgbClr val="FFFFFF">
                    <a:lumMod val="95000"/>
                  </a:srgbClr>
                </a:solidFill>
                <a:effectLst>
                  <a:outerShdw blurRad="41275" dist="20320" dir="1800000" algn="tl" rotWithShape="0">
                    <a:srgbClr val="000000">
                      <a:alpha val="40000"/>
                    </a:srgbClr>
                  </a:outerShdw>
                </a:effectLst>
                <a:latin typeface="Roboto" panose="02000000000000000000" pitchFamily="2" charset="0"/>
                <a:ea typeface="Roboto" panose="02000000000000000000" pitchFamily="2" charset="0"/>
                <a:cs typeface="Roboto" panose="02000000000000000000" pitchFamily="2" charset="0"/>
              </a:rPr>
              <a:t>Providing Global Continuity of Care for Mobile Patients</a:t>
            </a:r>
          </a:p>
          <a:p>
            <a:pPr fontAlgn="base">
              <a:spcBef>
                <a:spcPts val="600"/>
              </a:spcBef>
              <a:spcAft>
                <a:spcPts val="600"/>
              </a:spcAft>
            </a:pPr>
            <a:r>
              <a:rPr lang="en-US" altLang="en-US" sz="4400" b="1" dirty="0" smtClean="0">
                <a:ln w="6350">
                  <a:solidFill>
                    <a:srgbClr val="D3D3D3">
                      <a:lumMod val="25000"/>
                    </a:srgbClr>
                  </a:solidFill>
                  <a:prstDash val="solid"/>
                </a:ln>
                <a:solidFill>
                  <a:srgbClr val="FFFFFF">
                    <a:lumMod val="95000"/>
                  </a:srgbClr>
                </a:solidFill>
                <a:effectLst>
                  <a:outerShdw blurRad="41275" dist="20320" dir="1800000" algn="tl" rotWithShape="0">
                    <a:srgbClr val="000000">
                      <a:alpha val="40000"/>
                    </a:srgbClr>
                  </a:outerShdw>
                </a:effectLst>
                <a:latin typeface="Roboto" panose="02000000000000000000" pitchFamily="2" charset="0"/>
                <a:ea typeface="Roboto" panose="02000000000000000000" pitchFamily="2" charset="0"/>
                <a:cs typeface="Roboto" panose="02000000000000000000" pitchFamily="2" charset="0"/>
              </a:rPr>
              <a:t>2005-2015</a:t>
            </a:r>
            <a:endParaRPr lang="en-US" altLang="en-US" sz="4400" b="1" dirty="0">
              <a:ln w="6350">
                <a:solidFill>
                  <a:srgbClr val="D3D3D3">
                    <a:lumMod val="25000"/>
                  </a:srgbClr>
                </a:solidFill>
                <a:prstDash val="solid"/>
              </a:ln>
              <a:solidFill>
                <a:srgbClr val="FFFFFF">
                  <a:lumMod val="95000"/>
                </a:srgbClr>
              </a:solidFill>
              <a:effectLst>
                <a:outerShdw blurRad="41275" dist="20320" dir="1800000" algn="tl" rotWithShape="0">
                  <a:srgbClr val="000000">
                    <a:alpha val="40000"/>
                  </a:srgbClr>
                </a:outerShdw>
              </a:effectLst>
              <a:latin typeface="Roboto" panose="02000000000000000000" pitchFamily="2" charset="0"/>
              <a:ea typeface="Roboto" panose="02000000000000000000" pitchFamily="2" charset="0"/>
              <a:cs typeface="Roboto" panose="02000000000000000000" pitchFamily="2" charset="0"/>
            </a:endParaRPr>
          </a:p>
        </p:txBody>
      </p:sp>
      <p:sp>
        <p:nvSpPr>
          <p:cNvPr id="5" name="TextBox 4"/>
          <p:cNvSpPr txBox="1"/>
          <p:nvPr/>
        </p:nvSpPr>
        <p:spPr>
          <a:xfrm>
            <a:off x="228600" y="4191000"/>
            <a:ext cx="8763000" cy="1477328"/>
          </a:xfrm>
          <a:prstGeom prst="rect">
            <a:avLst/>
          </a:prstGeom>
          <a:noFill/>
        </p:spPr>
        <p:txBody>
          <a:bodyPr wrap="square" rtlCol="0">
            <a:spAutoFit/>
          </a:bodyPr>
          <a:lstStyle/>
          <a:p>
            <a:pPr algn="r"/>
            <a:endParaRPr lang="en-US"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endParaRPr>
          </a:p>
          <a:p>
            <a:pPr algn="r"/>
            <a:r>
              <a:rPr lang="en-US" b="1"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rPr>
              <a:t>Ed Zuroweste, MD</a:t>
            </a:r>
          </a:p>
          <a:p>
            <a:pPr algn="r"/>
            <a:r>
              <a:rPr lang="en-US"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rPr>
              <a:t>Chief Medical Officer</a:t>
            </a:r>
          </a:p>
          <a:p>
            <a:pPr algn="r"/>
            <a:r>
              <a:rPr lang="en-US" dirty="0">
                <a:solidFill>
                  <a:srgbClr val="D3D3D3">
                    <a:lumMod val="25000"/>
                  </a:srgbClr>
                </a:solidFill>
                <a:latin typeface="Roboto" panose="02000000000000000000" pitchFamily="2" charset="0"/>
                <a:ea typeface="Roboto" panose="02000000000000000000" pitchFamily="2" charset="0"/>
                <a:cs typeface="Roboto" panose="02000000000000000000" pitchFamily="2" charset="0"/>
              </a:rPr>
              <a:t>    Migrant Clinicians Network</a:t>
            </a:r>
          </a:p>
          <a:p>
            <a:endParaRPr lang="en-US" dirty="0">
              <a:solidFill>
                <a:srgbClr val="4C5059"/>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629400" y="5410200"/>
            <a:ext cx="1905000" cy="1152525"/>
          </a:xfrm>
          <a:prstGeom prst="rect">
            <a:avLst/>
          </a:prstGeom>
        </p:spPr>
      </p:pic>
    </p:spTree>
    <p:extLst>
      <p:ext uri="{BB962C8B-B14F-4D97-AF65-F5344CB8AC3E}">
        <p14:creationId xmlns:p14="http://schemas.microsoft.com/office/powerpoint/2010/main" val="183366905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687572" y="4057233"/>
            <a:ext cx="8001000" cy="2800767"/>
          </a:xfrm>
          <a:prstGeom prst="rect">
            <a:avLst/>
          </a:prstGeom>
          <a:noFill/>
        </p:spPr>
        <p:txBody>
          <a:bodyPr wrap="square" rtlCol="0">
            <a:spAutoFit/>
          </a:bodyPr>
          <a:lstStyle/>
          <a:p>
            <a:pPr algn="ctr"/>
            <a:r>
              <a:rPr lang="en-US" sz="9600" dirty="0" smtClean="0">
                <a:solidFill>
                  <a:srgbClr val="FFFFFF"/>
                </a:solidFill>
                <a:latin typeface="Permanent Marker" panose="02000000000000000000" pitchFamily="2" charset="0"/>
                <a:ea typeface="Permanent Marker" panose="02000000000000000000" pitchFamily="2" charset="0"/>
              </a:rPr>
              <a:t>20</a:t>
            </a:r>
            <a:r>
              <a:rPr lang="en-US" sz="8000" dirty="0" smtClean="0">
                <a:solidFill>
                  <a:srgbClr val="FFFFFF"/>
                </a:solidFill>
                <a:latin typeface="Permanent Marker" panose="02000000000000000000" pitchFamily="2" charset="0"/>
                <a:ea typeface="Permanent Marker" panose="02000000000000000000" pitchFamily="2" charset="0"/>
              </a:rPr>
              <a:t> Years of innovation </a:t>
            </a:r>
            <a:endParaRPr lang="en-US" sz="8000" dirty="0">
              <a:solidFill>
                <a:srgbClr val="FFFFFF"/>
              </a:solidFill>
              <a:latin typeface="Permanent Marker" panose="02000000000000000000" pitchFamily="2" charset="0"/>
              <a:ea typeface="Permanent Marker" panose="02000000000000000000" pitchFamily="2" charset="0"/>
            </a:endParaRPr>
          </a:p>
        </p:txBody>
      </p:sp>
    </p:spTree>
    <p:extLst>
      <p:ext uri="{BB962C8B-B14F-4D97-AF65-F5344CB8AC3E}">
        <p14:creationId xmlns:p14="http://schemas.microsoft.com/office/powerpoint/2010/main" val="162553901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959631"/>
            <a:ext cx="9144000" cy="4938738"/>
          </a:xfrm>
          <a:prstGeom prst="rect">
            <a:avLst/>
          </a:prstGeom>
        </p:spPr>
      </p:pic>
      <p:sp>
        <p:nvSpPr>
          <p:cNvPr id="3" name="Rectangle 2"/>
          <p:cNvSpPr/>
          <p:nvPr/>
        </p:nvSpPr>
        <p:spPr>
          <a:xfrm>
            <a:off x="765509" y="6096000"/>
            <a:ext cx="7814960" cy="523220"/>
          </a:xfrm>
          <a:prstGeom prst="rect">
            <a:avLst/>
          </a:prstGeom>
        </p:spPr>
        <p:txBody>
          <a:bodyPr wrap="none">
            <a:spAutoFit/>
          </a:bodyPr>
          <a:lstStyle/>
          <a:p>
            <a:r>
              <a:rPr lang="en-US" sz="2800" dirty="0">
                <a:solidFill>
                  <a:srgbClr val="FFFFFF"/>
                </a:solidFill>
                <a:latin typeface="Roboto" panose="02000000000000000000" pitchFamily="2" charset="0"/>
                <a:ea typeface="Roboto" panose="02000000000000000000" pitchFamily="2" charset="0"/>
                <a:cs typeface="Roboto" panose="02000000000000000000" pitchFamily="2" charset="0"/>
              </a:rPr>
              <a:t>2,951 total clinics in U.S. and over </a:t>
            </a:r>
            <a:r>
              <a:rPr lang="en-US" sz="2800" dirty="0" smtClean="0">
                <a:solidFill>
                  <a:srgbClr val="FFFFFF"/>
                </a:solidFill>
                <a:latin typeface="Roboto" panose="02000000000000000000" pitchFamily="2" charset="0"/>
                <a:ea typeface="Roboto" panose="02000000000000000000" pitchFamily="2" charset="0"/>
                <a:cs typeface="Roboto" panose="02000000000000000000" pitchFamily="2" charset="0"/>
              </a:rPr>
              <a:t>111 </a:t>
            </a:r>
            <a:r>
              <a:rPr lang="en-US" sz="2800" dirty="0">
                <a:solidFill>
                  <a:srgbClr val="FFFFFF"/>
                </a:solidFill>
                <a:latin typeface="Roboto" panose="02000000000000000000" pitchFamily="2" charset="0"/>
                <a:ea typeface="Roboto" panose="02000000000000000000" pitchFamily="2" charset="0"/>
                <a:cs typeface="Roboto" panose="02000000000000000000" pitchFamily="2" charset="0"/>
              </a:rPr>
              <a:t>countries</a:t>
            </a:r>
          </a:p>
        </p:txBody>
      </p:sp>
    </p:spTree>
    <p:extLst>
      <p:ext uri="{BB962C8B-B14F-4D97-AF65-F5344CB8AC3E}">
        <p14:creationId xmlns:p14="http://schemas.microsoft.com/office/powerpoint/2010/main" val="178891983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0886"/>
            <a:ext cx="9139646" cy="6847114"/>
          </a:xfrm>
          <a:prstGeom prst="rect">
            <a:avLst/>
          </a:prstGeom>
        </p:spPr>
      </p:pic>
      <p:sp>
        <p:nvSpPr>
          <p:cNvPr id="5" name="Rectangle 4"/>
          <p:cNvSpPr/>
          <p:nvPr/>
        </p:nvSpPr>
        <p:spPr>
          <a:xfrm>
            <a:off x="0" y="0"/>
            <a:ext cx="9144000" cy="6858000"/>
          </a:xfrm>
          <a:prstGeom prst="rect">
            <a:avLst/>
          </a:prstGeom>
          <a:solidFill>
            <a:schemeClr val="accent1">
              <a:alpha val="5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Rectangle 3"/>
          <p:cNvSpPr/>
          <p:nvPr/>
        </p:nvSpPr>
        <p:spPr>
          <a:xfrm>
            <a:off x="1052674" y="1793358"/>
            <a:ext cx="7034298" cy="2554545"/>
          </a:xfrm>
          <a:prstGeom prst="rect">
            <a:avLst/>
          </a:prstGeom>
        </p:spPr>
        <p:txBody>
          <a:bodyPr wrap="none">
            <a:spAutoFit/>
          </a:bodyPr>
          <a:lstStyle/>
          <a:p>
            <a:pPr algn="ctr">
              <a:defRPr/>
            </a:pPr>
            <a:r>
              <a:rPr lang="en-US" sz="8000" dirty="0" smtClean="0">
                <a:solidFill>
                  <a:srgbClr val="FFFFFF"/>
                </a:solidFill>
                <a:latin typeface="Permanent Marker" panose="02000000000000000000" pitchFamily="2" charset="0"/>
                <a:ea typeface="Permanent Marker" panose="02000000000000000000" pitchFamily="2" charset="0"/>
              </a:rPr>
              <a:t>8,660 </a:t>
            </a:r>
            <a:r>
              <a:rPr lang="en-US" sz="8000" dirty="0">
                <a:solidFill>
                  <a:srgbClr val="FFFFFF"/>
                </a:solidFill>
                <a:latin typeface="Permanent Marker" panose="02000000000000000000" pitchFamily="2" charset="0"/>
                <a:ea typeface="Permanent Marker" panose="02000000000000000000" pitchFamily="2" charset="0"/>
              </a:rPr>
              <a:t>total HN </a:t>
            </a:r>
            <a:r>
              <a:rPr lang="en-US" sz="8000" dirty="0" smtClean="0">
                <a:solidFill>
                  <a:srgbClr val="FFFFFF"/>
                </a:solidFill>
                <a:latin typeface="Permanent Marker" panose="02000000000000000000" pitchFamily="2" charset="0"/>
                <a:ea typeface="Permanent Marker" panose="02000000000000000000" pitchFamily="2" charset="0"/>
              </a:rPr>
              <a:t/>
            </a:r>
            <a:br>
              <a:rPr lang="en-US" sz="8000" dirty="0" smtClean="0">
                <a:solidFill>
                  <a:srgbClr val="FFFFFF"/>
                </a:solidFill>
                <a:latin typeface="Permanent Marker" panose="02000000000000000000" pitchFamily="2" charset="0"/>
                <a:ea typeface="Permanent Marker" panose="02000000000000000000" pitchFamily="2" charset="0"/>
              </a:rPr>
            </a:br>
            <a:r>
              <a:rPr lang="en-US" sz="8000" dirty="0" smtClean="0">
                <a:solidFill>
                  <a:srgbClr val="FFFFFF"/>
                </a:solidFill>
                <a:latin typeface="Permanent Marker" panose="02000000000000000000" pitchFamily="2" charset="0"/>
                <a:ea typeface="Permanent Marker" panose="02000000000000000000" pitchFamily="2" charset="0"/>
              </a:rPr>
              <a:t>enrollments </a:t>
            </a:r>
            <a:endParaRPr lang="en-US" sz="8000" dirty="0">
              <a:solidFill>
                <a:srgbClr val="FFFFFF"/>
              </a:solidFill>
              <a:latin typeface="Permanent Marker" panose="02000000000000000000" pitchFamily="2" charset="0"/>
              <a:ea typeface="Permanent Marker" panose="02000000000000000000" pitchFamily="2" charset="0"/>
            </a:endParaRPr>
          </a:p>
        </p:txBody>
      </p:sp>
    </p:spTree>
    <p:extLst>
      <p:ext uri="{BB962C8B-B14F-4D97-AF65-F5344CB8AC3E}">
        <p14:creationId xmlns:p14="http://schemas.microsoft.com/office/powerpoint/2010/main" val="320363090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873034648"/>
              </p:ext>
            </p:extLst>
          </p:nvPr>
        </p:nvGraphicFramePr>
        <p:xfrm>
          <a:off x="228600" y="228600"/>
          <a:ext cx="8610600" cy="64008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942787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C5884"/>
        </a:solidFill>
        <a:effectLst/>
      </p:bgPr>
    </p:bg>
    <p:spTree>
      <p:nvGrpSpPr>
        <p:cNvPr id="1" name=""/>
        <p:cNvGrpSpPr/>
        <p:nvPr/>
      </p:nvGrpSpPr>
      <p:grpSpPr>
        <a:xfrm>
          <a:off x="0" y="0"/>
          <a:ext cx="0" cy="0"/>
          <a:chOff x="0" y="0"/>
          <a:chExt cx="0" cy="0"/>
        </a:xfrm>
      </p:grpSpPr>
      <p:sp>
        <p:nvSpPr>
          <p:cNvPr id="2" name="Rectangle 1"/>
          <p:cNvSpPr/>
          <p:nvPr>
            <p:custDataLst>
              <p:tags r:id="rId2"/>
            </p:custDataLst>
          </p:nvPr>
        </p:nvSpPr>
        <p:spPr>
          <a:xfrm>
            <a:off x="1142999" y="1295400"/>
            <a:ext cx="6786817" cy="2862322"/>
          </a:xfrm>
          <a:prstGeom prst="rect">
            <a:avLst/>
          </a:prstGeom>
          <a:noFill/>
        </p:spPr>
        <p:txBody>
          <a:bodyPr wrap="square" lIns="91440" tIns="45720" rIns="91440" bIns="45720">
            <a:spAutoFit/>
          </a:bodyPr>
          <a:lstStyle/>
          <a:p>
            <a:pPr algn="ctr"/>
            <a:r>
              <a:rPr lang="en-US" sz="6000" b="1" dirty="0" smtClean="0">
                <a:ln w="1905"/>
                <a:solidFill>
                  <a:schemeClr val="bg1"/>
                </a:solidFill>
                <a:effectLst>
                  <a:innerShdw blurRad="69850" dist="43180" dir="5400000">
                    <a:srgbClr val="000000">
                      <a:alpha val="65000"/>
                    </a:srgbClr>
                  </a:innerShdw>
                </a:effectLst>
              </a:rPr>
              <a:t>“Tuberculosis is a social problem with a medical aspect”</a:t>
            </a:r>
            <a:endParaRPr lang="en-US" sz="6000" b="1" dirty="0">
              <a:ln w="1905"/>
              <a:solidFill>
                <a:schemeClr val="bg1"/>
              </a:solidFill>
              <a:effectLst>
                <a:innerShdw blurRad="69850" dist="43180" dir="5400000">
                  <a:srgbClr val="000000">
                    <a:alpha val="65000"/>
                  </a:srgbClr>
                </a:innerShdw>
              </a:effectLst>
            </a:endParaRPr>
          </a:p>
        </p:txBody>
      </p:sp>
      <p:sp>
        <p:nvSpPr>
          <p:cNvPr id="4" name="TextBox 3"/>
          <p:cNvSpPr txBox="1"/>
          <p:nvPr>
            <p:custDataLst>
              <p:tags r:id="rId3"/>
            </p:custDataLst>
          </p:nvPr>
        </p:nvSpPr>
        <p:spPr>
          <a:xfrm>
            <a:off x="4572000" y="4419600"/>
            <a:ext cx="4059125" cy="584775"/>
          </a:xfrm>
          <a:prstGeom prst="rect">
            <a:avLst/>
          </a:prstGeom>
          <a:noFill/>
        </p:spPr>
        <p:txBody>
          <a:bodyPr wrap="none" rtlCol="0">
            <a:spAutoFit/>
          </a:bodyPr>
          <a:lstStyle/>
          <a:p>
            <a:r>
              <a:rPr lang="en-US" sz="3200" dirty="0" smtClean="0">
                <a:solidFill>
                  <a:schemeClr val="bg1"/>
                </a:solidFill>
              </a:rPr>
              <a:t>Sir William Osler, 1904</a:t>
            </a:r>
            <a:endParaRPr lang="en-US" sz="3200" dirty="0">
              <a:solidFill>
                <a:schemeClr val="bg1"/>
              </a:solidFill>
            </a:endParaRPr>
          </a:p>
        </p:txBody>
      </p:sp>
    </p:spTree>
    <p:custDataLst>
      <p:tags r:id="rId1"/>
    </p:custDataLst>
    <p:extLst>
      <p:ext uri="{BB962C8B-B14F-4D97-AF65-F5344CB8AC3E}">
        <p14:creationId xmlns:p14="http://schemas.microsoft.com/office/powerpoint/2010/main" val="1893457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idx="4294967295"/>
          </p:nvPr>
        </p:nvSpPr>
        <p:spPr>
          <a:xfrm>
            <a:off x="237067" y="-304800"/>
            <a:ext cx="7772400" cy="1143000"/>
          </a:xfrm>
        </p:spPr>
        <p:txBody>
          <a:bodyPr/>
          <a:lstStyle/>
          <a:p>
            <a:pPr eaLnBrk="1" hangingPunct="1"/>
            <a:r>
              <a:rPr lang="en-US" altLang="en-US" sz="4000" b="0" dirty="0" smtClean="0"/>
              <a:t>Nationality TBNet 2005-2014</a:t>
            </a:r>
          </a:p>
        </p:txBody>
      </p:sp>
      <p:graphicFrame>
        <p:nvGraphicFramePr>
          <p:cNvPr id="4" name="Group 3"/>
          <p:cNvGraphicFramePr>
            <a:graphicFrameLocks/>
          </p:cNvGraphicFramePr>
          <p:nvPr>
            <p:extLst>
              <p:ext uri="{D42A27DB-BD31-4B8C-83A1-F6EECF244321}">
                <p14:modId xmlns:p14="http://schemas.microsoft.com/office/powerpoint/2010/main" val="2347887973"/>
              </p:ext>
            </p:extLst>
          </p:nvPr>
        </p:nvGraphicFramePr>
        <p:xfrm>
          <a:off x="457200" y="533400"/>
          <a:ext cx="7924800" cy="6355070"/>
        </p:xfrm>
        <a:graphic>
          <a:graphicData uri="http://schemas.openxmlformats.org/drawingml/2006/table">
            <a:tbl>
              <a:tblPr/>
              <a:tblGrid>
                <a:gridCol w="2895600"/>
                <a:gridCol w="2362200"/>
                <a:gridCol w="2667000"/>
              </a:tblGrid>
              <a:tr h="694866">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Country </a:t>
                      </a:r>
                    </a:p>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81Total Countries)</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Total Class 3 patients</a:t>
                      </a:r>
                    </a:p>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839 total patients)</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Percent of total patients</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1866">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Honduras</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502</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27.3%</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778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Mexico </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tx1"/>
                          </a:solidFill>
                          <a:effectLst/>
                          <a:latin typeface="Arial" pitchFamily="34" charset="0"/>
                        </a:rPr>
                        <a:t> </a:t>
                      </a:r>
                      <a:r>
                        <a:rPr kumimoji="0" lang="en-US" sz="1800" b="0" i="0" u="none" strike="noStrike" cap="none" normalizeH="0" baseline="0" dirty="0" smtClean="0">
                          <a:ln>
                            <a:noFill/>
                          </a:ln>
                          <a:solidFill>
                            <a:schemeClr val="bg1"/>
                          </a:solidFill>
                          <a:effectLst/>
                          <a:latin typeface="Arial" pitchFamily="34" charset="0"/>
                        </a:rPr>
                        <a:t>374</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 20.3%</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778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Guatemala</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311</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6.9%</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778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El Salvador</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60</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8.7%</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778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India</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60</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3.3%</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9371">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China</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41</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2.2%</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4608">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Philippines</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34</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8%</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9371">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Nicaragua</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31</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7%</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778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Peru</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30</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6%</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7778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Ecuador</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30</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6%</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409952">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United States</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28</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5%</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411117">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Haiti</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22</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2%</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42708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Viet Nam</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16</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0" i="0" u="none" strike="noStrike" cap="none" normalizeH="0" baseline="0" dirty="0" smtClean="0">
                          <a:ln>
                            <a:noFill/>
                          </a:ln>
                          <a:solidFill>
                            <a:schemeClr val="bg1"/>
                          </a:solidFill>
                          <a:effectLst/>
                          <a:latin typeface="Arial" pitchFamily="34" charset="0"/>
                        </a:rPr>
                        <a:t>0.9%</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640009">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1" i="0" u="none" strike="noStrike" cap="none" normalizeH="0" baseline="0" dirty="0" smtClean="0">
                          <a:ln>
                            <a:noFill/>
                          </a:ln>
                          <a:solidFill>
                            <a:schemeClr val="bg1"/>
                          </a:solidFill>
                          <a:effectLst/>
                          <a:latin typeface="Arial" pitchFamily="34" charset="0"/>
                        </a:rPr>
                        <a:t>Honduras; Mexico; Guatemala; El Salvador</a:t>
                      </a:r>
                    </a:p>
                  </a:txBody>
                  <a:tcPr marL="81280" marR="81280"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1" i="0" u="none" strike="noStrike" cap="none" normalizeH="0" baseline="0" dirty="0" smtClean="0">
                          <a:ln>
                            <a:noFill/>
                          </a:ln>
                          <a:solidFill>
                            <a:schemeClr val="bg1"/>
                          </a:solidFill>
                          <a:effectLst/>
                          <a:latin typeface="Arial" pitchFamily="34" charset="0"/>
                        </a:rPr>
                        <a:t>1,347</a:t>
                      </a:r>
                    </a:p>
                  </a:txBody>
                  <a:tcPr marL="81280" marR="81280"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800" b="1" i="0" u="none" strike="noStrike" cap="none" normalizeH="0" baseline="0" dirty="0" smtClean="0">
                          <a:ln>
                            <a:noFill/>
                          </a:ln>
                          <a:solidFill>
                            <a:srgbClr val="FF0000"/>
                          </a:solidFill>
                          <a:effectLst/>
                          <a:latin typeface="Arial" pitchFamily="34" charset="0"/>
                        </a:rPr>
                        <a:t>73.2%</a:t>
                      </a:r>
                    </a:p>
                  </a:txBody>
                  <a:tcPr marL="81280" marR="81280"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r>
            </a:tbl>
          </a:graphicData>
        </a:graphic>
      </p:graphicFrame>
    </p:spTree>
    <p:extLst>
      <p:ext uri="{BB962C8B-B14F-4D97-AF65-F5344CB8AC3E}">
        <p14:creationId xmlns:p14="http://schemas.microsoft.com/office/powerpoint/2010/main" val="25928641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idx="4294967295"/>
          </p:nvPr>
        </p:nvSpPr>
        <p:spPr>
          <a:xfrm>
            <a:off x="685800" y="152400"/>
            <a:ext cx="7772400" cy="685800"/>
          </a:xfrm>
        </p:spPr>
        <p:txBody>
          <a:bodyPr>
            <a:normAutofit fontScale="90000"/>
          </a:bodyPr>
          <a:lstStyle/>
          <a:p>
            <a:pPr eaLnBrk="1" hangingPunct="1"/>
            <a:r>
              <a:rPr lang="en-US" altLang="en-US" sz="4000" dirty="0" smtClean="0"/>
              <a:t>Nationality </a:t>
            </a:r>
            <a:r>
              <a:rPr lang="en-US" altLang="en-US" sz="4000" dirty="0" err="1" smtClean="0"/>
              <a:t>TBNet</a:t>
            </a:r>
            <a:r>
              <a:rPr lang="en-US" altLang="en-US" sz="4000" dirty="0" smtClean="0"/>
              <a:t> 2014</a:t>
            </a:r>
          </a:p>
        </p:txBody>
      </p:sp>
      <p:graphicFrame>
        <p:nvGraphicFramePr>
          <p:cNvPr id="4" name="Group 3"/>
          <p:cNvGraphicFramePr>
            <a:graphicFrameLocks/>
          </p:cNvGraphicFramePr>
          <p:nvPr>
            <p:extLst>
              <p:ext uri="{D42A27DB-BD31-4B8C-83A1-F6EECF244321}">
                <p14:modId xmlns:p14="http://schemas.microsoft.com/office/powerpoint/2010/main" val="3262901581"/>
              </p:ext>
            </p:extLst>
          </p:nvPr>
        </p:nvGraphicFramePr>
        <p:xfrm>
          <a:off x="457200" y="914400"/>
          <a:ext cx="8077200" cy="5608451"/>
        </p:xfrm>
        <a:graphic>
          <a:graphicData uri="http://schemas.openxmlformats.org/drawingml/2006/table">
            <a:tbl>
              <a:tblPr>
                <a:tableStyleId>{D113A9D2-9D6B-4929-AA2D-F23B5EE8CBE7}</a:tableStyleId>
              </a:tblPr>
              <a:tblGrid>
                <a:gridCol w="2951285"/>
                <a:gridCol w="2407627"/>
                <a:gridCol w="2718288"/>
              </a:tblGrid>
              <a:tr h="640010">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Country </a:t>
                      </a:r>
                    </a:p>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25 Total Countries)</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Total Class 3 patients</a:t>
                      </a:r>
                    </a:p>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87 patients)</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Percent of total patients</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Guatemala</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44</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23.5%</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Mexico</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 39</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 20.9%</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Honduras</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31</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6.6%</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1" i="0" u="none" strike="noStrike" cap="none" normalizeH="0" baseline="0" dirty="0" smtClean="0">
                          <a:ln>
                            <a:noFill/>
                          </a:ln>
                          <a:solidFill>
                            <a:srgbClr val="FFC000"/>
                          </a:solidFill>
                          <a:effectLst/>
                          <a:latin typeface="+mn-lt"/>
                        </a:rPr>
                        <a:t>India</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3</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7.0%</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El Salvador</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0</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5.3%</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Philippines</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8</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4.3%</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China</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7</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3.7%</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United States</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5</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2.7%</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Nepal</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4</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2.1%</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Dominican Republic</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3</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6%</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defRPr/>
                      </a:pPr>
                      <a:r>
                        <a:rPr kumimoji="0" lang="en-US" sz="1600" b="0" i="0" u="none" strike="noStrike" cap="none" normalizeH="0" baseline="0" dirty="0" smtClean="0">
                          <a:ln>
                            <a:noFill/>
                          </a:ln>
                          <a:solidFill>
                            <a:schemeClr val="bg1"/>
                          </a:solidFill>
                          <a:effectLst/>
                          <a:latin typeface="+mn-lt"/>
                        </a:rPr>
                        <a:t>Ecuador</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3</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6%</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Philippines</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3</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6%</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336843">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1" i="0" u="none" strike="noStrike" cap="none" normalizeH="0" baseline="0" dirty="0" smtClean="0">
                          <a:ln>
                            <a:noFill/>
                          </a:ln>
                          <a:solidFill>
                            <a:schemeClr val="bg1"/>
                          </a:solidFill>
                          <a:effectLst/>
                          <a:latin typeface="+mn-lt"/>
                        </a:rPr>
                        <a:t>TOTAL</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0" i="0" u="none" strike="noStrike" cap="none" normalizeH="0" baseline="0" dirty="0" smtClean="0">
                          <a:ln>
                            <a:noFill/>
                          </a:ln>
                          <a:solidFill>
                            <a:schemeClr val="bg1"/>
                          </a:solidFill>
                          <a:effectLst/>
                          <a:latin typeface="+mn-lt"/>
                        </a:rPr>
                        <a:t>187</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defRPr/>
                      </a:pPr>
                      <a:endParaRPr kumimoji="0" lang="en-US" sz="1600" b="0" i="0" u="none" strike="noStrike" cap="none" normalizeH="0" baseline="0" dirty="0" smtClean="0">
                        <a:ln>
                          <a:noFill/>
                        </a:ln>
                        <a:solidFill>
                          <a:schemeClr val="bg1"/>
                        </a:solidFill>
                        <a:effectLst/>
                        <a:latin typeface="+mn-lt"/>
                      </a:endParaRP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r h="589482">
                <a:tc>
                  <a:txBody>
                    <a:bodyPr/>
                    <a:lstStyle/>
                    <a:p>
                      <a:pPr marL="0" marR="0" lvl="0" indent="0" algn="l"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1" i="0" u="none" strike="noStrike" cap="none" normalizeH="0" baseline="0" dirty="0" smtClean="0">
                          <a:ln>
                            <a:noFill/>
                          </a:ln>
                          <a:solidFill>
                            <a:schemeClr val="bg1"/>
                          </a:solidFill>
                          <a:effectLst/>
                          <a:latin typeface="+mn-lt"/>
                        </a:rPr>
                        <a:t>Honduras; Mexico; Guatemala; </a:t>
                      </a:r>
                      <a:r>
                        <a:rPr kumimoji="0" lang="en-US" sz="1600" b="1" i="0" u="none" strike="noStrike" cap="none" normalizeH="0" baseline="0" dirty="0" smtClean="0">
                          <a:ln>
                            <a:noFill/>
                          </a:ln>
                          <a:solidFill>
                            <a:srgbClr val="FFC000"/>
                          </a:solidFill>
                          <a:effectLst/>
                          <a:latin typeface="+mn-lt"/>
                        </a:rPr>
                        <a:t>India</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1" i="0" u="none" strike="noStrike" cap="none" normalizeH="0" baseline="0" dirty="0" smtClean="0">
                          <a:ln>
                            <a:noFill/>
                          </a:ln>
                          <a:solidFill>
                            <a:schemeClr val="bg1"/>
                          </a:solidFill>
                          <a:effectLst/>
                          <a:latin typeface="+mn-lt"/>
                        </a:rPr>
                        <a:t>127</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20000"/>
                        </a:spcBef>
                        <a:spcAft>
                          <a:spcPct val="0"/>
                        </a:spcAft>
                        <a:buClr>
                          <a:schemeClr val="tx2"/>
                        </a:buClr>
                        <a:buSzPct val="150000"/>
                        <a:buFont typeface="Wingdings" pitchFamily="2" charset="2"/>
                        <a:buNone/>
                        <a:tabLst/>
                      </a:pPr>
                      <a:r>
                        <a:rPr kumimoji="0" lang="en-US" sz="1600" b="1" i="0" u="none" strike="noStrike" cap="none" normalizeH="0" baseline="0" dirty="0" smtClean="0">
                          <a:ln>
                            <a:noFill/>
                          </a:ln>
                          <a:solidFill>
                            <a:srgbClr val="FFC000"/>
                          </a:solidFill>
                          <a:effectLst/>
                          <a:latin typeface="+mn-lt"/>
                        </a:rPr>
                        <a:t>67.9%</a:t>
                      </a:r>
                    </a:p>
                  </a:txBody>
                  <a:tcPr marL="81280" marR="81280" marT="45715" marB="45715" horzOverflow="overflow">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ustDataLst>
      <p:tags r:id="rId1"/>
    </p:custDataLst>
    <p:extLst>
      <p:ext uri="{BB962C8B-B14F-4D97-AF65-F5344CB8AC3E}">
        <p14:creationId xmlns:p14="http://schemas.microsoft.com/office/powerpoint/2010/main" val="329991340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noGrp="1"/>
          </p:cNvGraphicFramePr>
          <p:nvPr>
            <p:extLst>
              <p:ext uri="{D42A27DB-BD31-4B8C-83A1-F6EECF244321}">
                <p14:modId xmlns:p14="http://schemas.microsoft.com/office/powerpoint/2010/main" val="2059266348"/>
              </p:ext>
            </p:extLst>
          </p:nvPr>
        </p:nvGraphicFramePr>
        <p:xfrm>
          <a:off x="228600" y="304800"/>
          <a:ext cx="8610600" cy="63246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99396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089"/>
            <a:ext cx="9144000" cy="6865089"/>
          </a:xfrm>
          <a:prstGeom prst="rect">
            <a:avLst/>
          </a:prstGeom>
        </p:spPr>
      </p:pic>
      <p:sp>
        <p:nvSpPr>
          <p:cNvPr id="3" name="TextBox 2"/>
          <p:cNvSpPr txBox="1"/>
          <p:nvPr/>
        </p:nvSpPr>
        <p:spPr>
          <a:xfrm>
            <a:off x="838200" y="3886200"/>
            <a:ext cx="7543800" cy="1569660"/>
          </a:xfrm>
          <a:prstGeom prst="rect">
            <a:avLst/>
          </a:prstGeom>
          <a:solidFill>
            <a:schemeClr val="bg1"/>
          </a:solidFill>
          <a:ln w="57150">
            <a:solidFill>
              <a:schemeClr val="accent3"/>
            </a:solidFill>
          </a:ln>
        </p:spPr>
        <p:txBody>
          <a:bodyPr wrap="square" rtlCol="0">
            <a:spAutoFit/>
          </a:bodyPr>
          <a:lstStyle/>
          <a:p>
            <a:pPr algn="ctr">
              <a:defRPr/>
            </a:pPr>
            <a:r>
              <a:rPr lang="en-US" sz="3200" dirty="0">
                <a:solidFill>
                  <a:srgbClr val="4C5059"/>
                </a:solidFill>
                <a:latin typeface="Roboto" panose="02000000000000000000" pitchFamily="2" charset="0"/>
                <a:ea typeface="Roboto" panose="02000000000000000000" pitchFamily="2" charset="0"/>
                <a:cs typeface="Roboto" panose="02000000000000000000" pitchFamily="2" charset="0"/>
              </a:rPr>
              <a:t>Class 3 Active TB:  </a:t>
            </a:r>
            <a:br>
              <a:rPr lang="en-US" sz="3200" dirty="0">
                <a:solidFill>
                  <a:srgbClr val="4C5059"/>
                </a:solidFill>
                <a:latin typeface="Roboto" panose="02000000000000000000" pitchFamily="2" charset="0"/>
                <a:ea typeface="Roboto" panose="02000000000000000000" pitchFamily="2" charset="0"/>
                <a:cs typeface="Roboto" panose="02000000000000000000" pitchFamily="2" charset="0"/>
              </a:rPr>
            </a:br>
            <a:r>
              <a:rPr lang="en-US" sz="3200" dirty="0" err="1">
                <a:solidFill>
                  <a:srgbClr val="4C5059"/>
                </a:solidFill>
                <a:latin typeface="Roboto" panose="02000000000000000000" pitchFamily="2" charset="0"/>
                <a:ea typeface="Roboto" panose="02000000000000000000" pitchFamily="2" charset="0"/>
                <a:cs typeface="Roboto" panose="02000000000000000000" pitchFamily="2" charset="0"/>
              </a:rPr>
              <a:t>TBNet</a:t>
            </a:r>
            <a:r>
              <a:rPr lang="en-US" sz="3200" dirty="0">
                <a:solidFill>
                  <a:srgbClr val="4C5059"/>
                </a:solidFill>
                <a:latin typeface="Roboto" panose="02000000000000000000" pitchFamily="2" charset="0"/>
                <a:ea typeface="Roboto" panose="02000000000000000000" pitchFamily="2" charset="0"/>
                <a:cs typeface="Roboto" panose="02000000000000000000" pitchFamily="2" charset="0"/>
              </a:rPr>
              <a:t> Treatment Success (</a:t>
            </a:r>
            <a:r>
              <a:rPr lang="en-US" sz="3200" dirty="0" smtClean="0">
                <a:solidFill>
                  <a:srgbClr val="4C5059"/>
                </a:solidFill>
                <a:latin typeface="Roboto" panose="02000000000000000000" pitchFamily="2" charset="0"/>
                <a:ea typeface="Roboto" panose="02000000000000000000" pitchFamily="2" charset="0"/>
                <a:cs typeface="Roboto" panose="02000000000000000000" pitchFamily="2" charset="0"/>
              </a:rPr>
              <a:t>2005-2014)</a:t>
            </a:r>
            <a:endParaRPr lang="en-US" sz="3200" dirty="0">
              <a:solidFill>
                <a:srgbClr val="4C5059"/>
              </a:solidFill>
              <a:latin typeface="Roboto" panose="02000000000000000000" pitchFamily="2" charset="0"/>
              <a:ea typeface="Roboto" panose="02000000000000000000" pitchFamily="2" charset="0"/>
              <a:cs typeface="Roboto" panose="02000000000000000000" pitchFamily="2" charset="0"/>
            </a:endParaRPr>
          </a:p>
          <a:p>
            <a:pPr algn="ctr">
              <a:defRPr/>
            </a:pPr>
            <a:r>
              <a:rPr lang="en-US" sz="3200" dirty="0" smtClean="0">
                <a:solidFill>
                  <a:srgbClr val="4C5059"/>
                </a:solidFill>
                <a:latin typeface="Roboto" panose="02000000000000000000" pitchFamily="2" charset="0"/>
                <a:ea typeface="Roboto" panose="02000000000000000000" pitchFamily="2" charset="0"/>
                <a:cs typeface="Roboto" panose="02000000000000000000" pitchFamily="2" charset="0"/>
              </a:rPr>
              <a:t>(111 </a:t>
            </a:r>
            <a:r>
              <a:rPr lang="en-US" sz="3200" dirty="0">
                <a:solidFill>
                  <a:srgbClr val="4C5059"/>
                </a:solidFill>
                <a:latin typeface="Roboto" panose="02000000000000000000" pitchFamily="2" charset="0"/>
                <a:ea typeface="Roboto" panose="02000000000000000000" pitchFamily="2" charset="0"/>
                <a:cs typeface="Roboto" panose="02000000000000000000" pitchFamily="2" charset="0"/>
              </a:rPr>
              <a:t>Total Countries</a:t>
            </a:r>
            <a:r>
              <a:rPr lang="en-US" sz="3200" dirty="0" smtClean="0">
                <a:solidFill>
                  <a:srgbClr val="4C5059"/>
                </a:solidFill>
                <a:latin typeface="Roboto" panose="02000000000000000000" pitchFamily="2" charset="0"/>
                <a:ea typeface="Roboto" panose="02000000000000000000" pitchFamily="2" charset="0"/>
                <a:cs typeface="Roboto" panose="02000000000000000000" pitchFamily="2" charset="0"/>
              </a:rPr>
              <a:t>)</a:t>
            </a:r>
            <a:endParaRPr lang="en-US" sz="3200" dirty="0">
              <a:solidFill>
                <a:srgbClr val="4C5059"/>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21327013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089"/>
            <a:ext cx="9144000" cy="6865089"/>
          </a:xfrm>
          <a:prstGeom prst="rect">
            <a:avLst/>
          </a:prstGeom>
        </p:spPr>
      </p:pic>
      <p:sp>
        <p:nvSpPr>
          <p:cNvPr id="4" name="Rectangle 3"/>
          <p:cNvSpPr/>
          <p:nvPr/>
        </p:nvSpPr>
        <p:spPr>
          <a:xfrm>
            <a:off x="0" y="-7089"/>
            <a:ext cx="9144001" cy="6865089"/>
          </a:xfrm>
          <a:prstGeom prst="rect">
            <a:avLst/>
          </a:prstGeom>
          <a:solidFill>
            <a:schemeClr val="accent1">
              <a:alpha val="6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defRPr/>
            </a:pPr>
            <a:endParaRPr lang="en-US" dirty="0">
              <a:solidFill>
                <a:srgbClr val="FFFFFF"/>
              </a:solidFill>
            </a:endParaRPr>
          </a:p>
        </p:txBody>
      </p:sp>
      <p:sp>
        <p:nvSpPr>
          <p:cNvPr id="5" name="TextBox 4"/>
          <p:cNvSpPr txBox="1"/>
          <p:nvPr/>
        </p:nvSpPr>
        <p:spPr>
          <a:xfrm>
            <a:off x="723901" y="2133600"/>
            <a:ext cx="7696200" cy="2000548"/>
          </a:xfrm>
          <a:prstGeom prst="rect">
            <a:avLst/>
          </a:prstGeom>
          <a:noFill/>
        </p:spPr>
        <p:txBody>
          <a:bodyPr wrap="square" rtlCol="0">
            <a:spAutoFit/>
          </a:bodyPr>
          <a:lstStyle/>
          <a:p>
            <a:pPr algn="ctr"/>
            <a:r>
              <a:rPr lang="en-US" sz="6000" dirty="0" smtClean="0">
                <a:solidFill>
                  <a:srgbClr val="FFFFFF"/>
                </a:solidFill>
                <a:latin typeface="Roboto" panose="02000000000000000000" pitchFamily="2" charset="0"/>
                <a:ea typeface="Roboto" panose="02000000000000000000" pitchFamily="2" charset="0"/>
                <a:cs typeface="Roboto" panose="02000000000000000000" pitchFamily="2" charset="0"/>
              </a:rPr>
              <a:t>1,737</a:t>
            </a:r>
            <a:r>
              <a:rPr lang="en-US" sz="4000" dirty="0" smtClean="0">
                <a:solidFill>
                  <a:srgbClr val="FFFFFF"/>
                </a:solidFill>
                <a:latin typeface="Roboto" panose="02000000000000000000" pitchFamily="2" charset="0"/>
                <a:ea typeface="Roboto" panose="02000000000000000000" pitchFamily="2" charset="0"/>
                <a:cs typeface="Roboto" panose="02000000000000000000" pitchFamily="2" charset="0"/>
              </a:rPr>
              <a:t> </a:t>
            </a:r>
            <a:r>
              <a:rPr lang="en-US" sz="4000" dirty="0">
                <a:solidFill>
                  <a:srgbClr val="FFFFFF"/>
                </a:solidFill>
                <a:latin typeface="Roboto" panose="02000000000000000000" pitchFamily="2" charset="0"/>
                <a:ea typeface="Roboto" panose="02000000000000000000" pitchFamily="2" charset="0"/>
                <a:cs typeface="Roboto" panose="02000000000000000000" pitchFamily="2" charset="0"/>
              </a:rPr>
              <a:t>Class 3 Active TB Cases Referred </a:t>
            </a:r>
            <a:br>
              <a:rPr lang="en-US" sz="4000" dirty="0">
                <a:solidFill>
                  <a:srgbClr val="FFFFFF"/>
                </a:solidFill>
                <a:latin typeface="Roboto" panose="02000000000000000000" pitchFamily="2" charset="0"/>
                <a:ea typeface="Roboto" panose="02000000000000000000" pitchFamily="2" charset="0"/>
                <a:cs typeface="Roboto" panose="02000000000000000000" pitchFamily="2" charset="0"/>
              </a:rPr>
            </a:br>
            <a:r>
              <a:rPr lang="en-US" sz="2400" dirty="0" smtClean="0">
                <a:solidFill>
                  <a:srgbClr val="FFFFFF"/>
                </a:solidFill>
                <a:latin typeface="Roboto" panose="02000000000000000000" pitchFamily="2" charset="0"/>
                <a:ea typeface="Roboto" panose="02000000000000000000" pitchFamily="2" charset="0"/>
                <a:cs typeface="Roboto" panose="02000000000000000000" pitchFamily="2" charset="0"/>
              </a:rPr>
              <a:t>(40 </a:t>
            </a:r>
            <a:r>
              <a:rPr lang="en-US" sz="2400" dirty="0">
                <a:solidFill>
                  <a:srgbClr val="FFFFFF"/>
                </a:solidFill>
                <a:latin typeface="Roboto" panose="02000000000000000000" pitchFamily="2" charset="0"/>
                <a:ea typeface="Roboto" panose="02000000000000000000" pitchFamily="2" charset="0"/>
                <a:cs typeface="Roboto" panose="02000000000000000000" pitchFamily="2" charset="0"/>
              </a:rPr>
              <a:t>not recommended by country</a:t>
            </a:r>
            <a:r>
              <a:rPr lang="en-US" sz="2400" dirty="0" smtClean="0">
                <a:solidFill>
                  <a:srgbClr val="FFFFFF"/>
                </a:solidFill>
                <a:latin typeface="Roboto" panose="02000000000000000000" pitchFamily="2" charset="0"/>
                <a:ea typeface="Roboto" panose="02000000000000000000" pitchFamily="2" charset="0"/>
                <a:cs typeface="Roboto" panose="02000000000000000000" pitchFamily="2" charset="0"/>
              </a:rPr>
              <a:t>)</a:t>
            </a:r>
            <a:endParaRPr lang="en-US" sz="2400" dirty="0">
              <a:solidFill>
                <a:srgbClr val="FFFFFF"/>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458106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089"/>
            <a:ext cx="9144000" cy="6865089"/>
          </a:xfrm>
          <a:prstGeom prst="rect">
            <a:avLst/>
          </a:prstGeom>
        </p:spPr>
      </p:pic>
      <p:sp>
        <p:nvSpPr>
          <p:cNvPr id="4" name="Rectangle 3"/>
          <p:cNvSpPr/>
          <p:nvPr/>
        </p:nvSpPr>
        <p:spPr>
          <a:xfrm>
            <a:off x="0" y="-7089"/>
            <a:ext cx="9144001" cy="6865089"/>
          </a:xfrm>
          <a:prstGeom prst="rect">
            <a:avLst/>
          </a:prstGeom>
          <a:solidFill>
            <a:schemeClr val="accent1">
              <a:alpha val="6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defRPr/>
            </a:pPr>
            <a:endParaRPr lang="en-US" dirty="0">
              <a:solidFill>
                <a:srgbClr val="FFFFFF"/>
              </a:solidFill>
            </a:endParaRPr>
          </a:p>
        </p:txBody>
      </p:sp>
      <p:sp>
        <p:nvSpPr>
          <p:cNvPr id="5" name="TextBox 4"/>
          <p:cNvSpPr txBox="1"/>
          <p:nvPr/>
        </p:nvSpPr>
        <p:spPr>
          <a:xfrm>
            <a:off x="381000" y="2133600"/>
            <a:ext cx="8458200" cy="3477875"/>
          </a:xfrm>
          <a:prstGeom prst="rect">
            <a:avLst/>
          </a:prstGeom>
          <a:noFill/>
        </p:spPr>
        <p:txBody>
          <a:bodyPr wrap="square" rtlCol="0">
            <a:spAutoFit/>
          </a:bodyPr>
          <a:lstStyle/>
          <a:p>
            <a:pPr algn="ctr"/>
            <a:r>
              <a:rPr lang="en-US" sz="6000" dirty="0" smtClean="0">
                <a:solidFill>
                  <a:srgbClr val="FFFFFF"/>
                </a:solidFill>
                <a:latin typeface="Roboto" panose="02000000000000000000" pitchFamily="2" charset="0"/>
                <a:ea typeface="Roboto" panose="02000000000000000000" pitchFamily="2" charset="0"/>
                <a:cs typeface="Roboto" panose="02000000000000000000" pitchFamily="2" charset="0"/>
              </a:rPr>
              <a:t>1,670</a:t>
            </a:r>
            <a:r>
              <a:rPr lang="en-US" sz="4800" dirty="0" smtClean="0">
                <a:solidFill>
                  <a:srgbClr val="FFFFFF"/>
                </a:solidFill>
                <a:latin typeface="Roboto" panose="02000000000000000000" pitchFamily="2" charset="0"/>
                <a:ea typeface="Roboto" panose="02000000000000000000" pitchFamily="2" charset="0"/>
                <a:cs typeface="Roboto" panose="02000000000000000000" pitchFamily="2" charset="0"/>
              </a:rPr>
              <a:t> </a:t>
            </a:r>
            <a:r>
              <a:rPr lang="en-US" sz="4800" dirty="0">
                <a:solidFill>
                  <a:srgbClr val="FFFFFF"/>
                </a:solidFill>
                <a:latin typeface="Roboto" panose="02000000000000000000" pitchFamily="2" charset="0"/>
                <a:ea typeface="Roboto" panose="02000000000000000000" pitchFamily="2" charset="0"/>
                <a:cs typeface="Roboto" panose="02000000000000000000" pitchFamily="2" charset="0"/>
              </a:rPr>
              <a:t>Treatment </a:t>
            </a:r>
            <a:r>
              <a:rPr lang="en-US" sz="4800" dirty="0" smtClean="0">
                <a:solidFill>
                  <a:srgbClr val="FFFFFF"/>
                </a:solidFill>
                <a:latin typeface="Roboto" panose="02000000000000000000" pitchFamily="2" charset="0"/>
                <a:ea typeface="Roboto" panose="02000000000000000000" pitchFamily="2" charset="0"/>
                <a:cs typeface="Roboto" panose="02000000000000000000" pitchFamily="2" charset="0"/>
              </a:rPr>
              <a:t>Recommended</a:t>
            </a:r>
          </a:p>
          <a:p>
            <a:pPr algn="ctr"/>
            <a:endParaRPr lang="en-US" sz="4800" dirty="0" smtClean="0">
              <a:solidFill>
                <a:srgbClr val="FFFFFF"/>
              </a:solidFill>
              <a:latin typeface="Roboto" panose="02000000000000000000" pitchFamily="2" charset="0"/>
              <a:ea typeface="Roboto" panose="02000000000000000000" pitchFamily="2" charset="0"/>
              <a:cs typeface="Roboto" panose="02000000000000000000" pitchFamily="2" charset="0"/>
            </a:endParaRPr>
          </a:p>
          <a:p>
            <a:pPr algn="ctr"/>
            <a:r>
              <a:rPr lang="en-US" sz="3200" dirty="0">
                <a:solidFill>
                  <a:srgbClr val="FFFFFF"/>
                </a:solidFill>
                <a:latin typeface="Roboto" panose="02000000000000000000" pitchFamily="2" charset="0"/>
                <a:ea typeface="Roboto" panose="02000000000000000000" pitchFamily="2" charset="0"/>
                <a:cs typeface="Roboto" panose="02000000000000000000" pitchFamily="2" charset="0"/>
              </a:rPr>
              <a:t>(26 MDR; 65 resistant to at least one drug</a:t>
            </a:r>
            <a:r>
              <a:rPr lang="en-US" sz="3200" dirty="0" smtClean="0">
                <a:solidFill>
                  <a:srgbClr val="FFFFFF"/>
                </a:solidFill>
                <a:latin typeface="Roboto" panose="02000000000000000000" pitchFamily="2" charset="0"/>
                <a:ea typeface="Roboto" panose="02000000000000000000" pitchFamily="2" charset="0"/>
                <a:cs typeface="Roboto" panose="02000000000000000000" pitchFamily="2" charset="0"/>
              </a:rPr>
              <a:t>)</a:t>
            </a:r>
            <a:endParaRPr lang="en-US" sz="3200" dirty="0">
              <a:solidFill>
                <a:srgbClr val="FFFFFF"/>
              </a:solidFill>
              <a:latin typeface="Roboto" panose="02000000000000000000" pitchFamily="2" charset="0"/>
              <a:ea typeface="Roboto" panose="02000000000000000000" pitchFamily="2" charset="0"/>
              <a:cs typeface="Roboto" panose="02000000000000000000" pitchFamily="2" charset="0"/>
            </a:endParaRPr>
          </a:p>
          <a:p>
            <a:pPr algn="ctr"/>
            <a:r>
              <a:rPr lang="en-US" sz="3200" i="1" dirty="0" smtClean="0">
                <a:solidFill>
                  <a:srgbClr val="FFFFFF"/>
                </a:solidFill>
                <a:latin typeface="Roboto" panose="02000000000000000000" pitchFamily="2" charset="0"/>
                <a:ea typeface="Roboto" panose="02000000000000000000" pitchFamily="2" charset="0"/>
                <a:cs typeface="Roboto" panose="02000000000000000000" pitchFamily="2" charset="0"/>
              </a:rPr>
              <a:t>29 </a:t>
            </a:r>
            <a:r>
              <a:rPr lang="en-US" sz="3200" i="1" dirty="0">
                <a:solidFill>
                  <a:srgbClr val="FFFFFF"/>
                </a:solidFill>
                <a:latin typeface="Roboto" panose="02000000000000000000" pitchFamily="2" charset="0"/>
                <a:ea typeface="Roboto" panose="02000000000000000000" pitchFamily="2" charset="0"/>
                <a:cs typeface="Roboto" panose="02000000000000000000" pitchFamily="2" charset="0"/>
              </a:rPr>
              <a:t>deceased</a:t>
            </a:r>
          </a:p>
        </p:txBody>
      </p:sp>
    </p:spTree>
    <p:extLst>
      <p:ext uri="{BB962C8B-B14F-4D97-AF65-F5344CB8AC3E}">
        <p14:creationId xmlns:p14="http://schemas.microsoft.com/office/powerpoint/2010/main" val="2612459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7089"/>
            <a:ext cx="9144000" cy="6865089"/>
          </a:xfrm>
          <a:prstGeom prst="rect">
            <a:avLst/>
          </a:prstGeom>
        </p:spPr>
      </p:pic>
      <p:sp>
        <p:nvSpPr>
          <p:cNvPr id="4" name="Rectangle 3"/>
          <p:cNvSpPr/>
          <p:nvPr/>
        </p:nvSpPr>
        <p:spPr>
          <a:xfrm>
            <a:off x="0" y="-7089"/>
            <a:ext cx="9144001" cy="6865089"/>
          </a:xfrm>
          <a:prstGeom prst="rect">
            <a:avLst/>
          </a:prstGeom>
          <a:solidFill>
            <a:schemeClr val="accent1">
              <a:alpha val="6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defRPr/>
            </a:pPr>
            <a:endParaRPr lang="en-US" dirty="0">
              <a:solidFill>
                <a:srgbClr val="FFFFFF"/>
              </a:solidFill>
            </a:endParaRPr>
          </a:p>
        </p:txBody>
      </p:sp>
      <p:sp>
        <p:nvSpPr>
          <p:cNvPr id="5" name="TextBox 4"/>
          <p:cNvSpPr txBox="1"/>
          <p:nvPr/>
        </p:nvSpPr>
        <p:spPr>
          <a:xfrm>
            <a:off x="723901" y="2133600"/>
            <a:ext cx="7696200" cy="2739211"/>
          </a:xfrm>
          <a:prstGeom prst="rect">
            <a:avLst/>
          </a:prstGeom>
          <a:noFill/>
        </p:spPr>
        <p:txBody>
          <a:bodyPr wrap="square" rtlCol="0">
            <a:spAutoFit/>
          </a:bodyPr>
          <a:lstStyle/>
          <a:p>
            <a:pPr algn="ctr"/>
            <a:r>
              <a:rPr lang="en-US" sz="6000" dirty="0" smtClean="0">
                <a:solidFill>
                  <a:srgbClr val="FFFFFF"/>
                </a:solidFill>
                <a:latin typeface="Roboto" panose="02000000000000000000" pitchFamily="2" charset="0"/>
                <a:ea typeface="Roboto" panose="02000000000000000000" pitchFamily="2" charset="0"/>
                <a:cs typeface="Roboto" panose="02000000000000000000" pitchFamily="2" charset="0"/>
              </a:rPr>
              <a:t>1,641 </a:t>
            </a:r>
            <a:r>
              <a:rPr lang="en-US" sz="4800" dirty="0">
                <a:solidFill>
                  <a:srgbClr val="FFFFFF"/>
                </a:solidFill>
                <a:latin typeface="Roboto" panose="02000000000000000000" pitchFamily="2" charset="0"/>
                <a:ea typeface="Roboto" panose="02000000000000000000" pitchFamily="2" charset="0"/>
                <a:cs typeface="Roboto" panose="02000000000000000000" pitchFamily="2" charset="0"/>
              </a:rPr>
              <a:t>Followed by </a:t>
            </a:r>
            <a:r>
              <a:rPr lang="en-US" sz="4800" dirty="0" err="1">
                <a:solidFill>
                  <a:srgbClr val="FFFFFF"/>
                </a:solidFill>
                <a:latin typeface="Roboto" panose="02000000000000000000" pitchFamily="2" charset="0"/>
                <a:ea typeface="Roboto" panose="02000000000000000000" pitchFamily="2" charset="0"/>
                <a:cs typeface="Roboto" panose="02000000000000000000" pitchFamily="2" charset="0"/>
              </a:rPr>
              <a:t>TBNet</a:t>
            </a:r>
            <a:r>
              <a:rPr lang="en-US" sz="4800" dirty="0">
                <a:solidFill>
                  <a:srgbClr val="FFFFFF"/>
                </a:solidFill>
                <a:latin typeface="Roboto" panose="02000000000000000000" pitchFamily="2" charset="0"/>
                <a:ea typeface="Roboto" panose="02000000000000000000" pitchFamily="2" charset="0"/>
                <a:cs typeface="Roboto" panose="02000000000000000000" pitchFamily="2" charset="0"/>
              </a:rPr>
              <a:t> for Active TB</a:t>
            </a:r>
          </a:p>
          <a:p>
            <a:pPr algn="ctr"/>
            <a:r>
              <a:rPr lang="en-US" sz="3200" i="1" dirty="0" smtClean="0">
                <a:solidFill>
                  <a:srgbClr val="FFFFFF"/>
                </a:solidFill>
                <a:latin typeface="Roboto" panose="02000000000000000000" pitchFamily="2" charset="0"/>
                <a:ea typeface="Roboto" panose="02000000000000000000" pitchFamily="2" charset="0"/>
                <a:cs typeface="Roboto" panose="02000000000000000000" pitchFamily="2" charset="0"/>
              </a:rPr>
              <a:t>168 </a:t>
            </a:r>
            <a:r>
              <a:rPr lang="en-US" sz="3200" i="1" dirty="0">
                <a:solidFill>
                  <a:srgbClr val="FFFFFF"/>
                </a:solidFill>
                <a:latin typeface="Roboto" panose="02000000000000000000" pitchFamily="2" charset="0"/>
                <a:ea typeface="Roboto" panose="02000000000000000000" pitchFamily="2" charset="0"/>
                <a:cs typeface="Roboto" panose="02000000000000000000" pitchFamily="2" charset="0"/>
              </a:rPr>
              <a:t>lost to follow up</a:t>
            </a:r>
          </a:p>
          <a:p>
            <a:pPr algn="ctr"/>
            <a:r>
              <a:rPr lang="en-US" sz="3200" i="1" dirty="0" smtClean="0">
                <a:solidFill>
                  <a:srgbClr val="FFFFFF"/>
                </a:solidFill>
                <a:latin typeface="Roboto" panose="02000000000000000000" pitchFamily="2" charset="0"/>
                <a:ea typeface="Roboto" panose="02000000000000000000" pitchFamily="2" charset="0"/>
                <a:cs typeface="Roboto" panose="02000000000000000000" pitchFamily="2" charset="0"/>
              </a:rPr>
              <a:t>95 </a:t>
            </a:r>
            <a:r>
              <a:rPr lang="en-US" sz="3200" i="1" dirty="0">
                <a:solidFill>
                  <a:srgbClr val="FFFFFF"/>
                </a:solidFill>
                <a:latin typeface="Roboto" panose="02000000000000000000" pitchFamily="2" charset="0"/>
                <a:ea typeface="Roboto" panose="02000000000000000000" pitchFamily="2" charset="0"/>
                <a:cs typeface="Roboto" panose="02000000000000000000" pitchFamily="2" charset="0"/>
              </a:rPr>
              <a:t>refused treatment</a:t>
            </a:r>
          </a:p>
        </p:txBody>
      </p:sp>
    </p:spTree>
    <p:extLst>
      <p:ext uri="{BB962C8B-B14F-4D97-AF65-F5344CB8AC3E}">
        <p14:creationId xmlns:p14="http://schemas.microsoft.com/office/powerpoint/2010/main" val="2113228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extBox 4"/>
          <p:cNvSpPr txBox="1"/>
          <p:nvPr/>
        </p:nvSpPr>
        <p:spPr>
          <a:xfrm>
            <a:off x="709724" y="1219200"/>
            <a:ext cx="7696200" cy="3776418"/>
          </a:xfrm>
          <a:prstGeom prst="rect">
            <a:avLst/>
          </a:prstGeom>
          <a:noFill/>
        </p:spPr>
        <p:txBody>
          <a:bodyPr wrap="square" rtlCol="0">
            <a:spAutoFit/>
          </a:bodyPr>
          <a:lstStyle/>
          <a:p>
            <a:pPr algn="ctr">
              <a:lnSpc>
                <a:spcPct val="90000"/>
              </a:lnSpc>
              <a:defRPr/>
            </a:pPr>
            <a:r>
              <a:rPr lang="en-US" sz="4400" b="1" dirty="0" smtClean="0">
                <a:solidFill>
                  <a:srgbClr val="FFFFFF"/>
                </a:solidFill>
                <a:latin typeface="Roboto" panose="02000000000000000000" pitchFamily="2" charset="0"/>
                <a:ea typeface="Roboto" panose="02000000000000000000" pitchFamily="2" charset="0"/>
                <a:cs typeface="Roboto" panose="02000000000000000000" pitchFamily="2" charset="0"/>
              </a:rPr>
              <a:t>1,378 </a:t>
            </a:r>
            <a:r>
              <a:rPr lang="en-US" sz="4400" b="1" dirty="0">
                <a:solidFill>
                  <a:srgbClr val="FFFFFF"/>
                </a:solidFill>
                <a:latin typeface="Roboto" panose="02000000000000000000" pitchFamily="2" charset="0"/>
                <a:ea typeface="Roboto" panose="02000000000000000000" pitchFamily="2" charset="0"/>
                <a:cs typeface="Roboto" panose="02000000000000000000" pitchFamily="2" charset="0"/>
              </a:rPr>
              <a:t>Complete Treatment </a:t>
            </a:r>
            <a:r>
              <a:rPr lang="en-US" sz="7200" b="1" dirty="0" smtClean="0">
                <a:solidFill>
                  <a:srgbClr val="FFFFFF"/>
                </a:solidFill>
                <a:latin typeface="Roboto" panose="02000000000000000000" pitchFamily="2" charset="0"/>
                <a:ea typeface="Roboto" panose="02000000000000000000" pitchFamily="2" charset="0"/>
                <a:cs typeface="Roboto" panose="02000000000000000000" pitchFamily="2" charset="0"/>
              </a:rPr>
              <a:t/>
            </a:r>
            <a:br>
              <a:rPr lang="en-US" sz="7200" b="1" dirty="0" smtClean="0">
                <a:solidFill>
                  <a:srgbClr val="FFFFFF"/>
                </a:solidFill>
                <a:latin typeface="Roboto" panose="02000000000000000000" pitchFamily="2" charset="0"/>
                <a:ea typeface="Roboto" panose="02000000000000000000" pitchFamily="2" charset="0"/>
                <a:cs typeface="Roboto" panose="02000000000000000000" pitchFamily="2" charset="0"/>
              </a:rPr>
            </a:br>
            <a:r>
              <a:rPr lang="en-US" sz="7200" b="1" dirty="0" smtClean="0">
                <a:solidFill>
                  <a:srgbClr val="FFFFFF"/>
                </a:solidFill>
                <a:latin typeface="Roboto" panose="02000000000000000000" pitchFamily="2" charset="0"/>
                <a:ea typeface="Roboto" panose="02000000000000000000" pitchFamily="2" charset="0"/>
                <a:cs typeface="Roboto" panose="02000000000000000000" pitchFamily="2" charset="0"/>
              </a:rPr>
              <a:t/>
            </a:r>
            <a:br>
              <a:rPr lang="en-US" sz="7200" b="1" dirty="0" smtClean="0">
                <a:solidFill>
                  <a:srgbClr val="FFFFFF"/>
                </a:solidFill>
                <a:latin typeface="Roboto" panose="02000000000000000000" pitchFamily="2" charset="0"/>
                <a:ea typeface="Roboto" panose="02000000000000000000" pitchFamily="2" charset="0"/>
                <a:cs typeface="Roboto" panose="02000000000000000000" pitchFamily="2" charset="0"/>
              </a:rPr>
            </a:br>
            <a:r>
              <a:rPr lang="en-US" sz="15000" b="1" dirty="0" smtClean="0">
                <a:solidFill>
                  <a:srgbClr val="FDB128"/>
                </a:solidFill>
                <a:latin typeface="Roboto" panose="02000000000000000000" pitchFamily="2" charset="0"/>
                <a:ea typeface="Roboto" panose="02000000000000000000" pitchFamily="2" charset="0"/>
                <a:cs typeface="Roboto" panose="02000000000000000000" pitchFamily="2" charset="0"/>
              </a:rPr>
              <a:t>84.0%</a:t>
            </a:r>
            <a:endParaRPr lang="en-US" sz="15000" b="1" dirty="0">
              <a:solidFill>
                <a:srgbClr val="FDB128"/>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634471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custDataLst>
              <p:tags r:id="rId2"/>
            </p:custDataLst>
          </p:nvPr>
        </p:nvSpPr>
        <p:spPr>
          <a:xfrm>
            <a:off x="19833" y="609600"/>
            <a:ext cx="9144000" cy="1143000"/>
          </a:xfrm>
          <a:prstGeom prst="rect">
            <a:avLst/>
          </a:prstGeom>
        </p:spPr>
        <p:txBody>
          <a:bodyPr vert="horz" lIns="91440" tIns="45720" rIns="91440" bIns="45720" rtlCol="0" anchor="ctr">
            <a:normAutofit fontScale="9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4300" dirty="0" smtClean="0">
                <a:solidFill>
                  <a:prstClr val="black"/>
                </a:solidFill>
              </a:rPr>
              <a:t>Class 3 Active TB: </a:t>
            </a:r>
            <a:br>
              <a:rPr lang="en-US" sz="4300" dirty="0" smtClean="0">
                <a:solidFill>
                  <a:prstClr val="black"/>
                </a:solidFill>
              </a:rPr>
            </a:br>
            <a:r>
              <a:rPr lang="en-US" sz="4300" dirty="0" smtClean="0">
                <a:solidFill>
                  <a:prstClr val="black"/>
                </a:solidFill>
              </a:rPr>
              <a:t>TBNet Treatment Success (2014)</a:t>
            </a:r>
          </a:p>
          <a:p>
            <a:endParaRPr lang="en-US" sz="4000" i="1" dirty="0" smtClean="0">
              <a:solidFill>
                <a:srgbClr val="FF0000"/>
              </a:solidFill>
            </a:endParaRPr>
          </a:p>
        </p:txBody>
      </p:sp>
      <p:sp>
        <p:nvSpPr>
          <p:cNvPr id="3" name="Rectangle 3"/>
          <p:cNvSpPr txBox="1">
            <a:spLocks noChangeArrowheads="1"/>
          </p:cNvSpPr>
          <p:nvPr>
            <p:custDataLst>
              <p:tags r:id="rId3"/>
            </p:custDataLst>
          </p:nvPr>
        </p:nvSpPr>
        <p:spPr>
          <a:xfrm>
            <a:off x="229333" y="2131512"/>
            <a:ext cx="8743950" cy="472440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buFont typeface="Wingdings" pitchFamily="2" charset="2"/>
              <a:buChar char="ü"/>
            </a:pPr>
            <a:r>
              <a:rPr lang="en-US" dirty="0" smtClean="0">
                <a:solidFill>
                  <a:prstClr val="black"/>
                </a:solidFill>
              </a:rPr>
              <a:t> 192 Class 3 Active TB Cases Referred		</a:t>
            </a:r>
          </a:p>
          <a:p>
            <a:pPr>
              <a:lnSpc>
                <a:spcPct val="90000"/>
              </a:lnSpc>
              <a:buFont typeface="Wingdings" pitchFamily="2" charset="2"/>
              <a:buChar char="ü"/>
            </a:pPr>
            <a:r>
              <a:rPr lang="en-US" dirty="0" smtClean="0">
                <a:solidFill>
                  <a:prstClr val="black"/>
                </a:solidFill>
              </a:rPr>
              <a:t> 175 Treatment Recommended</a:t>
            </a:r>
          </a:p>
          <a:p>
            <a:pPr lvl="1">
              <a:lnSpc>
                <a:spcPct val="90000"/>
              </a:lnSpc>
              <a:buFont typeface="Arial" pitchFamily="34" charset="0"/>
              <a:buChar char="•"/>
            </a:pPr>
            <a:r>
              <a:rPr lang="en-US" i="1" dirty="0">
                <a:solidFill>
                  <a:prstClr val="black"/>
                </a:solidFill>
              </a:rPr>
              <a:t>4</a:t>
            </a:r>
            <a:r>
              <a:rPr lang="en-US" i="1" dirty="0" smtClean="0">
                <a:solidFill>
                  <a:prstClr val="black"/>
                </a:solidFill>
              </a:rPr>
              <a:t> deceased</a:t>
            </a:r>
          </a:p>
          <a:p>
            <a:pPr>
              <a:lnSpc>
                <a:spcPct val="90000"/>
              </a:lnSpc>
              <a:buFont typeface="Wingdings" pitchFamily="2" charset="2"/>
              <a:buChar char="ü"/>
            </a:pPr>
            <a:r>
              <a:rPr lang="en-US" dirty="0" smtClean="0">
                <a:solidFill>
                  <a:prstClr val="black"/>
                </a:solidFill>
              </a:rPr>
              <a:t>171 Followed by TBNet for Active TB</a:t>
            </a:r>
          </a:p>
          <a:p>
            <a:pPr lvl="1">
              <a:lnSpc>
                <a:spcPct val="90000"/>
              </a:lnSpc>
              <a:buFont typeface="Arial" pitchFamily="34" charset="0"/>
              <a:buChar char="•"/>
            </a:pPr>
            <a:r>
              <a:rPr lang="en-US" i="1" dirty="0" smtClean="0">
                <a:solidFill>
                  <a:prstClr val="black"/>
                </a:solidFill>
              </a:rPr>
              <a:t>15 lost to follow up</a:t>
            </a:r>
          </a:p>
          <a:p>
            <a:pPr lvl="1">
              <a:lnSpc>
                <a:spcPct val="90000"/>
              </a:lnSpc>
              <a:buFont typeface="Arial" pitchFamily="34" charset="0"/>
              <a:buChar char="•"/>
            </a:pPr>
            <a:r>
              <a:rPr lang="en-US" i="1" dirty="0">
                <a:solidFill>
                  <a:prstClr val="black"/>
                </a:solidFill>
              </a:rPr>
              <a:t>9</a:t>
            </a:r>
            <a:r>
              <a:rPr lang="en-US" i="1" dirty="0" smtClean="0">
                <a:solidFill>
                  <a:prstClr val="black"/>
                </a:solidFill>
              </a:rPr>
              <a:t> refused treatment</a:t>
            </a:r>
          </a:p>
          <a:p>
            <a:pPr marL="0" indent="0" algn="ctr">
              <a:lnSpc>
                <a:spcPct val="90000"/>
              </a:lnSpc>
              <a:buFont typeface="Arial" pitchFamily="34" charset="0"/>
              <a:buNone/>
            </a:pPr>
            <a:r>
              <a:rPr lang="en-US" sz="4000" b="1" dirty="0" smtClean="0">
                <a:solidFill>
                  <a:prstClr val="black"/>
                </a:solidFill>
              </a:rPr>
              <a:t>147 Complete Treatment </a:t>
            </a:r>
            <a:r>
              <a:rPr lang="en-US" sz="4000" dirty="0" smtClean="0">
                <a:solidFill>
                  <a:prstClr val="black"/>
                </a:solidFill>
              </a:rPr>
              <a:t>=  </a:t>
            </a:r>
            <a:r>
              <a:rPr lang="en-US" sz="4000" b="1" u="sng" dirty="0" smtClean="0">
                <a:solidFill>
                  <a:srgbClr val="FF0000"/>
                </a:solidFill>
              </a:rPr>
              <a:t>86.0%*</a:t>
            </a:r>
          </a:p>
          <a:p>
            <a:pPr marL="0" indent="0" algn="ctr">
              <a:lnSpc>
                <a:spcPct val="90000"/>
              </a:lnSpc>
              <a:buFont typeface="Arial" pitchFamily="34" charset="0"/>
              <a:buNone/>
            </a:pPr>
            <a:r>
              <a:rPr lang="en-US" sz="2000" b="1" u="sng" dirty="0" smtClean="0">
                <a:solidFill>
                  <a:srgbClr val="FF0000"/>
                </a:solidFill>
              </a:rPr>
              <a:t>*</a:t>
            </a:r>
            <a:r>
              <a:rPr lang="en-US" sz="2000" b="1" u="sng" dirty="0">
                <a:solidFill>
                  <a:srgbClr val="FF0000"/>
                </a:solidFill>
              </a:rPr>
              <a:t>P</a:t>
            </a:r>
            <a:r>
              <a:rPr lang="en-US" sz="2000" b="1" u="sng" dirty="0" smtClean="0">
                <a:solidFill>
                  <a:srgbClr val="FF0000"/>
                </a:solidFill>
              </a:rPr>
              <a:t>reliminary Data 10 cases of the 198 need to be further reviewed and clarified</a:t>
            </a:r>
          </a:p>
          <a:p>
            <a:pPr>
              <a:lnSpc>
                <a:spcPct val="90000"/>
              </a:lnSpc>
              <a:buFontTx/>
              <a:buNone/>
            </a:pPr>
            <a:endParaRPr lang="en-US" sz="2800" dirty="0" smtClean="0">
              <a:solidFill>
                <a:srgbClr val="FF0000"/>
              </a:solidFill>
            </a:endParaRPr>
          </a:p>
        </p:txBody>
      </p:sp>
    </p:spTree>
    <p:custDataLst>
      <p:tags r:id="rId1"/>
    </p:custDataLst>
    <p:extLst>
      <p:ext uri="{BB962C8B-B14F-4D97-AF65-F5344CB8AC3E}">
        <p14:creationId xmlns:p14="http://schemas.microsoft.com/office/powerpoint/2010/main" val="1208705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5300" y="409772"/>
            <a:ext cx="8153400" cy="769441"/>
          </a:xfrm>
          <a:prstGeom prst="rect">
            <a:avLst/>
          </a:prstGeom>
        </p:spPr>
        <p:txBody>
          <a:bodyPr wrap="square">
            <a:spAutoFit/>
          </a:bodyPr>
          <a:lstStyle/>
          <a:p>
            <a:r>
              <a:rPr lang="en-US" sz="4400" dirty="0" err="1" smtClean="0">
                <a:solidFill>
                  <a:prstClr val="black"/>
                </a:solidFill>
              </a:rPr>
              <a:t>TBNet</a:t>
            </a:r>
            <a:r>
              <a:rPr lang="en-US" sz="4400" dirty="0" smtClean="0">
                <a:solidFill>
                  <a:prstClr val="black"/>
                </a:solidFill>
              </a:rPr>
              <a:t> </a:t>
            </a:r>
            <a:r>
              <a:rPr lang="en-US" sz="4400" dirty="0">
                <a:solidFill>
                  <a:prstClr val="black"/>
                </a:solidFill>
              </a:rPr>
              <a:t>Treatment Success by Year*</a:t>
            </a:r>
            <a:endParaRPr lang="en-US" dirty="0">
              <a:solidFill>
                <a:prstClr val="black"/>
              </a:solidFill>
            </a:endParaRPr>
          </a:p>
        </p:txBody>
      </p:sp>
      <p:pic>
        <p:nvPicPr>
          <p:cNvPr id="1027"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43000" y="1371600"/>
            <a:ext cx="6934200"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59107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i.space.com/images/i/8983/original/earthrise-apollo-8.jpg?1301990846"/>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13317" y="-28576"/>
            <a:ext cx="9753600" cy="73152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72610" y="304800"/>
            <a:ext cx="4590873" cy="1754326"/>
          </a:xfrm>
          <a:prstGeom prst="rect">
            <a:avLst/>
          </a:prstGeom>
          <a:noFill/>
        </p:spPr>
        <p:txBody>
          <a:bodyPr wrap="none" lIns="91440" tIns="45720" rIns="91440" bIns="45720">
            <a:spAutoFit/>
          </a:bodyPr>
          <a:lstStyle/>
          <a:p>
            <a:pPr algn="ctr"/>
            <a:r>
              <a:rPr lang="en-US" sz="5400" b="1" dirty="0" smtClean="0">
                <a:ln w="900" cmpd="sng">
                  <a:solidFill>
                    <a:schemeClr val="accent1">
                      <a:satMod val="190000"/>
                      <a:alpha val="55000"/>
                    </a:schemeClr>
                  </a:solidFill>
                  <a:prstDash val="solid"/>
                </a:ln>
                <a:solidFill>
                  <a:schemeClr val="accent1">
                    <a:satMod val="200000"/>
                    <a:tint val="3000"/>
                  </a:schemeClr>
                </a:solidFill>
                <a:effectLst>
                  <a:outerShdw blurRad="50800" dist="38100" dir="5400000" algn="t" rotWithShape="0">
                    <a:prstClr val="black">
                      <a:alpha val="40000"/>
                    </a:prstClr>
                  </a:outerShdw>
                </a:effectLst>
              </a:rPr>
              <a:t>Global Burden</a:t>
            </a:r>
          </a:p>
          <a:p>
            <a:pPr algn="ctr"/>
            <a:r>
              <a:rPr lang="en-US" sz="5400" b="1" dirty="0" smtClean="0">
                <a:ln w="900" cmpd="sng">
                  <a:solidFill>
                    <a:schemeClr val="accent1">
                      <a:satMod val="190000"/>
                      <a:alpha val="55000"/>
                    </a:schemeClr>
                  </a:solidFill>
                  <a:prstDash val="solid"/>
                </a:ln>
                <a:solidFill>
                  <a:schemeClr val="accent1">
                    <a:satMod val="200000"/>
                    <a:tint val="3000"/>
                  </a:schemeClr>
                </a:solidFill>
                <a:effectLst>
                  <a:outerShdw blurRad="50800" dist="38100" dir="5400000" algn="t" rotWithShape="0">
                    <a:prstClr val="black">
                      <a:alpha val="40000"/>
                    </a:prstClr>
                  </a:outerShdw>
                </a:effectLst>
              </a:rPr>
              <a:t>Of Tuberculosis</a:t>
            </a:r>
          </a:p>
        </p:txBody>
      </p:sp>
    </p:spTree>
    <p:extLst>
      <p:ext uri="{BB962C8B-B14F-4D97-AF65-F5344CB8AC3E}">
        <p14:creationId xmlns:p14="http://schemas.microsoft.com/office/powerpoint/2010/main" val="3520445818"/>
      </p:ext>
    </p:extLst>
  </p:cSld>
  <p:clrMapOvr>
    <a:masterClrMapping/>
  </p:clrMapOvr>
  <mc:AlternateContent xmlns:mc="http://schemas.openxmlformats.org/markup-compatibility/2006" xmlns:p14="http://schemas.microsoft.com/office/powerpoint/2010/main">
    <mc:Choice Requires="p14">
      <p:transition spd="slow" p14:dur="2000" advTm="764"/>
    </mc:Choice>
    <mc:Fallback xmlns="">
      <p:transition spd="slow" advTm="764"/>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343399" y="2671439"/>
            <a:ext cx="4621995" cy="4191000"/>
          </a:xfrm>
          <a:prstGeom prst="rect">
            <a:avLst/>
          </a:prstGeom>
        </p:spPr>
      </p:pic>
      <p:sp>
        <p:nvSpPr>
          <p:cNvPr id="4" name="TextBox 3"/>
          <p:cNvSpPr txBox="1"/>
          <p:nvPr/>
        </p:nvSpPr>
        <p:spPr>
          <a:xfrm>
            <a:off x="381000" y="762000"/>
            <a:ext cx="5410200" cy="5632311"/>
          </a:xfrm>
          <a:prstGeom prst="rect">
            <a:avLst/>
          </a:prstGeom>
          <a:noFill/>
        </p:spPr>
        <p:txBody>
          <a:bodyPr wrap="square" rtlCol="0">
            <a:spAutoFit/>
          </a:bodyPr>
          <a:lstStyle/>
          <a:p>
            <a:r>
              <a:rPr lang="en-US" sz="6000" dirty="0" smtClean="0">
                <a:latin typeface="Segoe Print" panose="02000600000000000000" pitchFamily="2" charset="0"/>
              </a:rPr>
              <a:t>But doesn’t it cost too much to follow these difficult patients?</a:t>
            </a:r>
            <a:endParaRPr lang="en-US" sz="6000" dirty="0">
              <a:latin typeface="Segoe Print" panose="02000600000000000000" pitchFamily="2" charset="0"/>
            </a:endParaRPr>
          </a:p>
        </p:txBody>
      </p:sp>
    </p:spTree>
    <p:extLst>
      <p:ext uri="{BB962C8B-B14F-4D97-AF65-F5344CB8AC3E}">
        <p14:creationId xmlns:p14="http://schemas.microsoft.com/office/powerpoint/2010/main" val="338373978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0371" cy="6858000"/>
          </a:xfrm>
          <a:prstGeom prst="rect">
            <a:avLst/>
          </a:prstGeom>
        </p:spPr>
      </p:pic>
      <p:sp>
        <p:nvSpPr>
          <p:cNvPr id="3" name="TextBox 2"/>
          <p:cNvSpPr txBox="1"/>
          <p:nvPr/>
        </p:nvSpPr>
        <p:spPr>
          <a:xfrm>
            <a:off x="5715000" y="762000"/>
            <a:ext cx="3124200" cy="369332"/>
          </a:xfrm>
          <a:prstGeom prst="rect">
            <a:avLst/>
          </a:prstGeom>
          <a:noFill/>
        </p:spPr>
        <p:txBody>
          <a:bodyPr wrap="square" rtlCol="0">
            <a:spAutoFit/>
          </a:bodyPr>
          <a:lstStyle/>
          <a:p>
            <a:endParaRPr lang="en-US" dirty="0"/>
          </a:p>
        </p:txBody>
      </p:sp>
      <p:sp>
        <p:nvSpPr>
          <p:cNvPr id="4" name="Title 2"/>
          <p:cNvSpPr txBox="1">
            <a:spLocks/>
          </p:cNvSpPr>
          <p:nvPr/>
        </p:nvSpPr>
        <p:spPr>
          <a:xfrm>
            <a:off x="5029200" y="1101521"/>
            <a:ext cx="3650343" cy="5231368"/>
          </a:xfrm>
          <a:prstGeom prst="rect">
            <a:avLst/>
          </a:prstGeom>
          <a:solidFill>
            <a:schemeClr val="bg1"/>
          </a:solidFill>
          <a:ln w="19050">
            <a:solidFill>
              <a:schemeClr val="tx1"/>
            </a:solidFill>
          </a:ln>
          <a:effectLst>
            <a:outerShdw blurRad="50800" dist="38100" dir="8100000" algn="tr" rotWithShape="0">
              <a:prstClr val="black">
                <a:alpha val="40000"/>
              </a:prstClr>
            </a:outerShdw>
            <a:softEdge rad="31750"/>
          </a:effectLst>
        </p:spPr>
        <p:txBody>
          <a:bodyPr/>
          <a:lstStyle>
            <a:lvl1pPr algn="ctr" defTabSz="914400" rtl="0" eaLnBrk="1" latinLnBrk="0" hangingPunct="1">
              <a:spcBef>
                <a:spcPct val="0"/>
              </a:spcBef>
              <a:buNone/>
              <a:defRPr sz="4400" b="0" i="0" u="none" kern="12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a:defRPr/>
            </a:pPr>
            <a:r>
              <a:rPr lang="en-US" sz="3200" dirty="0"/>
              <a:t>Cost-effectiveness of bridge case management for tuberculosis infection treatment for mobile patients within the United </a:t>
            </a:r>
            <a:r>
              <a:rPr lang="en-US" sz="3200" dirty="0" smtClean="0"/>
              <a:t>States</a:t>
            </a:r>
          </a:p>
          <a:p>
            <a:pPr algn="l">
              <a:defRPr/>
            </a:pPr>
            <a:endParaRPr lang="en-US" sz="1800" dirty="0"/>
          </a:p>
          <a:p>
            <a:pPr>
              <a:defRPr/>
            </a:pPr>
            <a:r>
              <a:rPr lang="en-US" altLang="en-US" sz="2400" dirty="0" smtClean="0"/>
              <a:t>November, 2015 </a:t>
            </a:r>
            <a:br>
              <a:rPr lang="en-US" altLang="en-US" sz="2400" dirty="0" smtClean="0"/>
            </a:br>
            <a:r>
              <a:rPr lang="en-US" sz="2400" dirty="0" smtClean="0"/>
              <a:t>Cynthia </a:t>
            </a:r>
            <a:r>
              <a:rPr lang="en-US" sz="2400" dirty="0"/>
              <a:t>Tschampl PhD</a:t>
            </a:r>
            <a:endParaRPr lang="en-US" altLang="en-US" sz="2400" dirty="0"/>
          </a:p>
          <a:p>
            <a:pPr>
              <a:defRPr/>
            </a:pPr>
            <a:endParaRPr lang="en-US" sz="3200" dirty="0"/>
          </a:p>
        </p:txBody>
      </p:sp>
    </p:spTree>
    <p:extLst>
      <p:ext uri="{BB962C8B-B14F-4D97-AF65-F5344CB8AC3E}">
        <p14:creationId xmlns:p14="http://schemas.microsoft.com/office/powerpoint/2010/main" val="82142750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1524000"/>
            <a:ext cx="8407400" cy="4530725"/>
          </a:xfrm>
        </p:spPr>
        <p:txBody>
          <a:bodyPr>
            <a:noAutofit/>
          </a:bodyPr>
          <a:lstStyle/>
          <a:p>
            <a:pPr marL="45720" indent="0" fontAlgn="auto">
              <a:spcAft>
                <a:spcPts val="0"/>
              </a:spcAft>
              <a:buFont typeface="Wingdings 2" pitchFamily="18" charset="2"/>
              <a:buNone/>
              <a:defRPr/>
            </a:pPr>
            <a:r>
              <a:rPr lang="en-US" sz="2800" b="1" dirty="0" smtClean="0">
                <a:solidFill>
                  <a:srgbClr val="FF6600"/>
                </a:solidFill>
              </a:rPr>
              <a:t>Aim </a:t>
            </a:r>
            <a:r>
              <a:rPr lang="en-US" sz="2800" b="1" dirty="0">
                <a:solidFill>
                  <a:srgbClr val="FF6600"/>
                </a:solidFill>
              </a:rPr>
              <a:t>1</a:t>
            </a:r>
            <a:r>
              <a:rPr lang="en-US" sz="2800" b="1" dirty="0"/>
              <a:t>: </a:t>
            </a:r>
            <a:r>
              <a:rPr lang="en-US" sz="2800" dirty="0" smtClean="0"/>
              <a:t>Modeled incremental health </a:t>
            </a:r>
            <a:r>
              <a:rPr lang="en-US" sz="2800" dirty="0"/>
              <a:t>benefits </a:t>
            </a:r>
            <a:r>
              <a:rPr lang="en-US" sz="2800" dirty="0" smtClean="0"/>
              <a:t>of TBNet </a:t>
            </a:r>
          </a:p>
          <a:p>
            <a:pPr marL="777240" lvl="1" indent="-457200" fontAlgn="auto">
              <a:lnSpc>
                <a:spcPct val="80000"/>
              </a:lnSpc>
              <a:spcAft>
                <a:spcPts val="0"/>
              </a:spcAft>
              <a:buFont typeface="Wingdings" charset="2"/>
              <a:buChar char="§"/>
              <a:defRPr/>
            </a:pPr>
            <a:r>
              <a:rPr lang="en-US" sz="2600" dirty="0" smtClean="0"/>
              <a:t>TB cases averted</a:t>
            </a:r>
          </a:p>
          <a:p>
            <a:pPr marL="777240" lvl="1" indent="-457200" fontAlgn="auto">
              <a:lnSpc>
                <a:spcPct val="80000"/>
              </a:lnSpc>
              <a:spcAft>
                <a:spcPts val="0"/>
              </a:spcAft>
              <a:buFont typeface="Wingdings" charset="2"/>
              <a:buChar char="§"/>
              <a:defRPr/>
            </a:pPr>
            <a:r>
              <a:rPr lang="en-US" sz="2600" dirty="0" smtClean="0"/>
              <a:t>QALYs saved</a:t>
            </a:r>
            <a:endParaRPr lang="en-US" sz="1600" dirty="0"/>
          </a:p>
          <a:p>
            <a:pPr marL="45720" indent="0" fontAlgn="auto">
              <a:spcAft>
                <a:spcPts val="0"/>
              </a:spcAft>
              <a:buFont typeface="Wingdings 2" pitchFamily="18" charset="2"/>
              <a:buNone/>
              <a:defRPr/>
            </a:pPr>
            <a:endParaRPr lang="en-US" sz="1400" dirty="0" smtClean="0">
              <a:solidFill>
                <a:srgbClr val="FF6600"/>
              </a:solidFill>
            </a:endParaRPr>
          </a:p>
          <a:p>
            <a:pPr marL="45720" indent="0" fontAlgn="auto">
              <a:spcAft>
                <a:spcPts val="0"/>
              </a:spcAft>
              <a:buFont typeface="Wingdings 2" pitchFamily="18" charset="2"/>
              <a:buNone/>
              <a:defRPr/>
            </a:pPr>
            <a:r>
              <a:rPr lang="en-US" sz="2800" b="1" dirty="0" smtClean="0">
                <a:solidFill>
                  <a:srgbClr val="FF6600"/>
                </a:solidFill>
              </a:rPr>
              <a:t>Aim </a:t>
            </a:r>
            <a:r>
              <a:rPr lang="en-US" sz="2800" b="1" dirty="0">
                <a:solidFill>
                  <a:srgbClr val="FF6600"/>
                </a:solidFill>
              </a:rPr>
              <a:t>2</a:t>
            </a:r>
            <a:r>
              <a:rPr lang="en-US" sz="2800" b="1" dirty="0"/>
              <a:t>:</a:t>
            </a:r>
            <a:r>
              <a:rPr lang="en-US" sz="2800" dirty="0"/>
              <a:t> </a:t>
            </a:r>
            <a:r>
              <a:rPr lang="en-US" sz="2800" dirty="0" smtClean="0"/>
              <a:t>Determined </a:t>
            </a:r>
            <a:r>
              <a:rPr lang="en-US" sz="2800" dirty="0"/>
              <a:t>the cost-effectiveness of the </a:t>
            </a:r>
            <a:r>
              <a:rPr lang="en-US" sz="2800" dirty="0" smtClean="0"/>
              <a:t>TBNet, compared </a:t>
            </a:r>
            <a:r>
              <a:rPr lang="en-US" sz="2800" dirty="0"/>
              <a:t>to the status </a:t>
            </a:r>
            <a:r>
              <a:rPr lang="en-US" sz="2800" dirty="0" smtClean="0"/>
              <a:t>quo (ICERs)</a:t>
            </a:r>
            <a:endParaRPr lang="en-US" sz="1600" dirty="0"/>
          </a:p>
          <a:p>
            <a:pPr marL="45720" indent="0" fontAlgn="auto">
              <a:spcAft>
                <a:spcPts val="0"/>
              </a:spcAft>
              <a:buFont typeface="Wingdings 2" pitchFamily="18" charset="2"/>
              <a:buNone/>
              <a:defRPr/>
            </a:pPr>
            <a:endParaRPr lang="en-US" sz="1400" dirty="0" smtClean="0">
              <a:solidFill>
                <a:srgbClr val="FF6600"/>
              </a:solidFill>
            </a:endParaRPr>
          </a:p>
          <a:p>
            <a:pPr marL="45720" indent="0" fontAlgn="auto">
              <a:spcAft>
                <a:spcPts val="0"/>
              </a:spcAft>
              <a:buFont typeface="Wingdings 2" pitchFamily="18" charset="2"/>
              <a:buNone/>
              <a:defRPr/>
            </a:pPr>
            <a:r>
              <a:rPr lang="en-US" sz="2800" b="1" dirty="0" smtClean="0">
                <a:solidFill>
                  <a:srgbClr val="FF6600"/>
                </a:solidFill>
              </a:rPr>
              <a:t>Population</a:t>
            </a:r>
            <a:r>
              <a:rPr lang="en-US" sz="2800" dirty="0"/>
              <a:t>: </a:t>
            </a:r>
            <a:r>
              <a:rPr lang="en-US" sz="3600" b="1" dirty="0"/>
              <a:t>162</a:t>
            </a:r>
            <a:r>
              <a:rPr lang="en-US" sz="2800" dirty="0"/>
              <a:t> individuals referred for LTBI treatment with </a:t>
            </a:r>
            <a:r>
              <a:rPr lang="en-US" sz="2800" dirty="0" smtClean="0"/>
              <a:t>TBNet, </a:t>
            </a:r>
            <a:r>
              <a:rPr lang="en-US" sz="2800" dirty="0"/>
              <a:t>2005-</a:t>
            </a:r>
            <a:r>
              <a:rPr lang="en-US" sz="2800" dirty="0" smtClean="0"/>
              <a:t>2012; counterfactual </a:t>
            </a:r>
            <a:r>
              <a:rPr lang="en-US" sz="2800" dirty="0"/>
              <a:t>cohort calculated </a:t>
            </a:r>
            <a:r>
              <a:rPr lang="en-US" sz="2800" dirty="0" smtClean="0"/>
              <a:t>using </a:t>
            </a:r>
            <a:r>
              <a:rPr lang="en-US" sz="2800" dirty="0"/>
              <a:t>the literature</a:t>
            </a:r>
          </a:p>
        </p:txBody>
      </p:sp>
      <p:sp>
        <p:nvSpPr>
          <p:cNvPr id="3" name="Title 2"/>
          <p:cNvSpPr>
            <a:spLocks noGrp="1"/>
          </p:cNvSpPr>
          <p:nvPr>
            <p:ph type="title"/>
          </p:nvPr>
        </p:nvSpPr>
        <p:spPr/>
        <p:txBody>
          <a:bodyPr/>
          <a:lstStyle/>
          <a:p>
            <a:pPr fontAlgn="auto">
              <a:spcAft>
                <a:spcPts val="0"/>
              </a:spcAft>
              <a:defRPr/>
            </a:pPr>
            <a:r>
              <a:rPr lang="en-US" sz="4000" cap="none" dirty="0"/>
              <a:t>Aims &amp; Population</a:t>
            </a:r>
            <a:endParaRPr lang="en-US" sz="4000" dirty="0"/>
          </a:p>
        </p:txBody>
      </p:sp>
    </p:spTree>
    <p:custDataLst>
      <p:tags r:id="rId1"/>
    </p:custDataLst>
    <p:extLst>
      <p:ext uri="{BB962C8B-B14F-4D97-AF65-F5344CB8AC3E}">
        <p14:creationId xmlns:p14="http://schemas.microsoft.com/office/powerpoint/2010/main" val="1626437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fade">
                                      <p:cBhvr>
                                        <p:cTn id="13" dur="500"/>
                                        <p:tgtEl>
                                          <p:spTgt spid="2">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
                                            <p:txEl>
                                              <p:pRg st="4" end="4"/>
                                            </p:txEl>
                                          </p:spTgt>
                                        </p:tgtEl>
                                        <p:attrNameLst>
                                          <p:attrName>style.visibility</p:attrName>
                                        </p:attrNameLst>
                                      </p:cBhvr>
                                      <p:to>
                                        <p:strVal val="visible"/>
                                      </p:to>
                                    </p:set>
                                    <p:animEffect transition="in" filter="fade">
                                      <p:cBhvr>
                                        <p:cTn id="18" dur="500"/>
                                        <p:tgtEl>
                                          <p:spTgt spid="2">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animEffect transition="in" filter="fade">
                                      <p:cBhvr>
                                        <p:cTn id="23"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9144000" cy="7010400"/>
          </a:xfrm>
          <a:prstGeom prst="rect">
            <a:avLst/>
          </a:prstGeom>
        </p:spPr>
      </p:pic>
      <p:sp>
        <p:nvSpPr>
          <p:cNvPr id="3" name="TextBox 2"/>
          <p:cNvSpPr txBox="1"/>
          <p:nvPr/>
        </p:nvSpPr>
        <p:spPr>
          <a:xfrm>
            <a:off x="3733800" y="2843480"/>
            <a:ext cx="4419600" cy="1446550"/>
          </a:xfrm>
          <a:prstGeom prst="rect">
            <a:avLst/>
          </a:prstGeom>
          <a:noFill/>
        </p:spPr>
        <p:txBody>
          <a:bodyPr wrap="square" rtlCol="0">
            <a:spAutoFit/>
          </a:bodyPr>
          <a:lstStyle/>
          <a:p>
            <a:r>
              <a:rPr lang="en-US" sz="8800" dirty="0" smtClean="0">
                <a:solidFill>
                  <a:schemeClr val="bg1"/>
                </a:solidFill>
                <a:latin typeface="Roboto" panose="02000000000000000000" pitchFamily="2" charset="0"/>
                <a:ea typeface="Roboto" panose="02000000000000000000" pitchFamily="2" charset="0"/>
                <a:cs typeface="Roboto" panose="02000000000000000000" pitchFamily="2" charset="0"/>
              </a:rPr>
              <a:t>Findings</a:t>
            </a:r>
            <a:endParaRPr lang="en-US" sz="880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4377811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p:cNvSpPr>
            <a:spLocks noGrp="1"/>
          </p:cNvSpPr>
          <p:nvPr>
            <p:ph idx="1"/>
          </p:nvPr>
        </p:nvSpPr>
        <p:spPr>
          <a:xfrm>
            <a:off x="0" y="0"/>
            <a:ext cx="9144000" cy="6858000"/>
          </a:xfrm>
          <a:solidFill>
            <a:schemeClr val="tx1">
              <a:lumMod val="65000"/>
              <a:lumOff val="35000"/>
            </a:schemeClr>
          </a:solidFill>
        </p:spPr>
        <p:txBody>
          <a:bodyPr>
            <a:normAutofit/>
          </a:bodyPr>
          <a:lstStyle/>
          <a:p>
            <a:pPr marL="91122" indent="0" algn="ctr" fontAlgn="auto">
              <a:lnSpc>
                <a:spcPct val="110000"/>
              </a:lnSpc>
              <a:spcAft>
                <a:spcPts val="0"/>
              </a:spcAft>
              <a:buNone/>
              <a:defRPr/>
            </a:pPr>
            <a:r>
              <a:rPr lang="en-US" sz="4800" dirty="0" smtClean="0">
                <a:solidFill>
                  <a:schemeClr val="bg1"/>
                </a:solidFill>
              </a:rPr>
              <a:t>TBNet </a:t>
            </a:r>
            <a:r>
              <a:rPr lang="en-US" sz="4800" dirty="0">
                <a:solidFill>
                  <a:schemeClr val="bg1"/>
                </a:solidFill>
              </a:rPr>
              <a:t>for LTBI patients </a:t>
            </a:r>
            <a:r>
              <a:rPr lang="en-US" sz="4800" dirty="0" smtClean="0">
                <a:solidFill>
                  <a:schemeClr val="bg1"/>
                </a:solidFill>
              </a:rPr>
              <a:t/>
            </a:r>
            <a:br>
              <a:rPr lang="en-US" sz="4800" dirty="0" smtClean="0">
                <a:solidFill>
                  <a:schemeClr val="bg1"/>
                </a:solidFill>
              </a:rPr>
            </a:br>
            <a:r>
              <a:rPr lang="en-US" sz="4800" dirty="0" smtClean="0">
                <a:solidFill>
                  <a:srgbClr val="FF6600"/>
                </a:solidFill>
              </a:rPr>
              <a:t>highly cost-effective</a:t>
            </a:r>
          </a:p>
          <a:p>
            <a:pPr marL="91122" indent="0" fontAlgn="auto">
              <a:lnSpc>
                <a:spcPct val="110000"/>
              </a:lnSpc>
              <a:spcAft>
                <a:spcPts val="0"/>
              </a:spcAft>
              <a:buNone/>
              <a:defRPr/>
            </a:pPr>
            <a:endParaRPr lang="en-US" sz="3000" dirty="0">
              <a:solidFill>
                <a:schemeClr val="bg1"/>
              </a:solidFill>
            </a:endParaRPr>
          </a:p>
          <a:p>
            <a:pPr marL="739775" lvl="1" indent="-374650" fontAlgn="auto">
              <a:lnSpc>
                <a:spcPct val="110000"/>
              </a:lnSpc>
              <a:spcAft>
                <a:spcPts val="1200"/>
              </a:spcAft>
              <a:defRPr/>
            </a:pPr>
            <a:r>
              <a:rPr lang="en-US" sz="2800" dirty="0">
                <a:solidFill>
                  <a:schemeClr val="bg1"/>
                </a:solidFill>
              </a:rPr>
              <a:t>$28,662 per QALY gained; $</a:t>
            </a:r>
            <a:r>
              <a:rPr lang="en-US" sz="2800" dirty="0" smtClean="0">
                <a:solidFill>
                  <a:schemeClr val="bg1"/>
                </a:solidFill>
              </a:rPr>
              <a:t>39,629/averted case </a:t>
            </a:r>
            <a:r>
              <a:rPr lang="en-US" sz="2600" dirty="0" smtClean="0">
                <a:solidFill>
                  <a:schemeClr val="bg1"/>
                </a:solidFill>
              </a:rPr>
              <a:t>(</a:t>
            </a:r>
            <a:r>
              <a:rPr lang="en-US" sz="2100" dirty="0" smtClean="0">
                <a:solidFill>
                  <a:schemeClr val="bg1"/>
                </a:solidFill>
              </a:rPr>
              <a:t>1x </a:t>
            </a:r>
            <a:r>
              <a:rPr lang="en-US" sz="2100" dirty="0">
                <a:solidFill>
                  <a:schemeClr val="bg1"/>
                </a:solidFill>
              </a:rPr>
              <a:t>GNI per capita = highly cost-effective, </a:t>
            </a:r>
            <a:r>
              <a:rPr lang="en-US" sz="2100" dirty="0" smtClean="0">
                <a:solidFill>
                  <a:schemeClr val="bg1"/>
                </a:solidFill>
              </a:rPr>
              <a:t>i.e., $50,120)</a:t>
            </a:r>
            <a:endParaRPr lang="en-US" sz="2100" dirty="0">
              <a:solidFill>
                <a:schemeClr val="bg1"/>
              </a:solidFill>
            </a:endParaRPr>
          </a:p>
          <a:p>
            <a:pPr marL="739775" lvl="1" indent="-374650" fontAlgn="auto">
              <a:lnSpc>
                <a:spcPct val="110000"/>
              </a:lnSpc>
              <a:spcAft>
                <a:spcPts val="1200"/>
              </a:spcAft>
              <a:defRPr/>
            </a:pPr>
            <a:r>
              <a:rPr lang="en-US" sz="2800" dirty="0">
                <a:solidFill>
                  <a:schemeClr val="bg1"/>
                </a:solidFill>
              </a:rPr>
              <a:t>Sensitivity analyses: </a:t>
            </a:r>
            <a:endParaRPr lang="en-US" sz="2800" dirty="0" smtClean="0">
              <a:solidFill>
                <a:schemeClr val="bg1"/>
              </a:solidFill>
            </a:endParaRPr>
          </a:p>
          <a:p>
            <a:pPr marL="1139825" lvl="2" indent="-374650">
              <a:lnSpc>
                <a:spcPct val="110000"/>
              </a:lnSpc>
              <a:spcAft>
                <a:spcPts val="1200"/>
              </a:spcAft>
              <a:defRPr/>
            </a:pPr>
            <a:r>
              <a:rPr lang="hr-HR" sz="2400" dirty="0" smtClean="0">
                <a:solidFill>
                  <a:schemeClr val="bg1"/>
                </a:solidFill>
              </a:rPr>
              <a:t>$</a:t>
            </a:r>
            <a:r>
              <a:rPr lang="hr-HR" sz="2400" dirty="0">
                <a:solidFill>
                  <a:schemeClr val="bg1"/>
                </a:solidFill>
              </a:rPr>
              <a:t>33,009 (CI: $6,625-$90,056) per QALY </a:t>
            </a:r>
            <a:r>
              <a:rPr lang="hr-HR" sz="2400" dirty="0" smtClean="0">
                <a:solidFill>
                  <a:schemeClr val="bg1"/>
                </a:solidFill>
              </a:rPr>
              <a:t>saved; </a:t>
            </a:r>
            <a:r>
              <a:rPr lang="en-US" sz="2400" dirty="0" smtClean="0">
                <a:solidFill>
                  <a:schemeClr val="bg1"/>
                </a:solidFill>
              </a:rPr>
              <a:t/>
            </a:r>
            <a:br>
              <a:rPr lang="en-US" sz="2400" dirty="0" smtClean="0">
                <a:solidFill>
                  <a:schemeClr val="bg1"/>
                </a:solidFill>
              </a:rPr>
            </a:br>
            <a:r>
              <a:rPr lang="hr-HR" sz="2400" dirty="0" smtClean="0">
                <a:solidFill>
                  <a:schemeClr val="bg1"/>
                </a:solidFill>
              </a:rPr>
              <a:t>$</a:t>
            </a:r>
            <a:r>
              <a:rPr lang="hr-HR" sz="2400" dirty="0">
                <a:solidFill>
                  <a:schemeClr val="bg1"/>
                </a:solidFill>
              </a:rPr>
              <a:t>45,678 (95% CI: $9,160-$124,514) per TB case </a:t>
            </a:r>
            <a:r>
              <a:rPr lang="hr-HR" sz="2400" dirty="0" smtClean="0">
                <a:solidFill>
                  <a:schemeClr val="bg1"/>
                </a:solidFill>
              </a:rPr>
              <a:t>averted</a:t>
            </a:r>
            <a:endParaRPr lang="en-US" sz="2400" dirty="0">
              <a:solidFill>
                <a:schemeClr val="bg1"/>
              </a:solidFill>
            </a:endParaRPr>
          </a:p>
        </p:txBody>
      </p:sp>
    </p:spTree>
    <p:custDataLst>
      <p:tags r:id="rId1"/>
    </p:custDataLst>
    <p:extLst>
      <p:ext uri="{BB962C8B-B14F-4D97-AF65-F5344CB8AC3E}">
        <p14:creationId xmlns:p14="http://schemas.microsoft.com/office/powerpoint/2010/main" val="334880904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0" y="1"/>
            <a:ext cx="9144000" cy="6934200"/>
          </a:xfrm>
          <a:prstGeom prst="rect">
            <a:avLst/>
          </a:prstGeom>
          <a:solidFill>
            <a:schemeClr val="tx1"/>
          </a:solidFill>
          <a:ln>
            <a:noFill/>
          </a:ln>
        </p:spPr>
      </p:pic>
      <p:sp>
        <p:nvSpPr>
          <p:cNvPr id="3" name="TextBox 2"/>
          <p:cNvSpPr txBox="1"/>
          <p:nvPr>
            <p:custDataLst>
              <p:tags r:id="rId2"/>
            </p:custDataLst>
          </p:nvPr>
        </p:nvSpPr>
        <p:spPr>
          <a:xfrm>
            <a:off x="5410200" y="1905000"/>
            <a:ext cx="2895600" cy="2562240"/>
          </a:xfrm>
          <a:prstGeom prst="rect">
            <a:avLst/>
          </a:prstGeom>
          <a:solidFill>
            <a:schemeClr val="accent3">
              <a:lumMod val="75000"/>
            </a:schemeClr>
          </a:solidFill>
          <a:effectLst>
            <a:glow rad="63500">
              <a:schemeClr val="accent3">
                <a:satMod val="175000"/>
                <a:alpha val="40000"/>
              </a:schemeClr>
            </a:glow>
            <a:outerShdw blurRad="50800" dist="38100" dir="8100000" algn="tr" rotWithShape="0">
              <a:prstClr val="black">
                <a:alpha val="40000"/>
              </a:prstClr>
            </a:outerShdw>
            <a:softEdge rad="63500"/>
          </a:effectLst>
        </p:spPr>
        <p:txBody>
          <a:bodyPr wrap="square" rtlCol="0">
            <a:spAutoFit/>
          </a:bodyPr>
          <a:lstStyle/>
          <a:p>
            <a:pPr algn="ctr"/>
            <a:r>
              <a:rPr lang="en-US" sz="2400" dirty="0" smtClean="0">
                <a:solidFill>
                  <a:schemeClr val="bg1"/>
                </a:solidFill>
              </a:rPr>
              <a:t>February, 2010</a:t>
            </a:r>
          </a:p>
          <a:p>
            <a:pPr algn="ctr"/>
            <a:endParaRPr lang="en-US" sz="1050" dirty="0" smtClean="0">
              <a:solidFill>
                <a:schemeClr val="bg1"/>
              </a:solidFill>
            </a:endParaRPr>
          </a:p>
          <a:p>
            <a:pPr marL="285750" indent="-285750">
              <a:buFont typeface="Arial" pitchFamily="34" charset="0"/>
              <a:buChar char="•"/>
            </a:pPr>
            <a:r>
              <a:rPr lang="en-US" dirty="0" smtClean="0">
                <a:solidFill>
                  <a:schemeClr val="bg1"/>
                </a:solidFill>
              </a:rPr>
              <a:t>Screened in an ICE facility</a:t>
            </a:r>
          </a:p>
          <a:p>
            <a:pPr marL="285750" indent="-285750">
              <a:buFont typeface="Arial" pitchFamily="34" charset="0"/>
              <a:buChar char="•"/>
            </a:pPr>
            <a:r>
              <a:rPr lang="en-US" dirty="0" smtClean="0">
                <a:solidFill>
                  <a:schemeClr val="bg1"/>
                </a:solidFill>
              </a:rPr>
              <a:t>Negative smear</a:t>
            </a:r>
          </a:p>
          <a:p>
            <a:pPr marL="285750" indent="-285750">
              <a:buFont typeface="Arial" pitchFamily="34" charset="0"/>
              <a:buChar char="•"/>
            </a:pPr>
            <a:r>
              <a:rPr lang="en-US" dirty="0" smtClean="0">
                <a:solidFill>
                  <a:schemeClr val="bg1"/>
                </a:solidFill>
              </a:rPr>
              <a:t>RUL consolidation</a:t>
            </a:r>
          </a:p>
          <a:p>
            <a:pPr marL="285750" indent="-285750">
              <a:buFont typeface="Arial" pitchFamily="34" charset="0"/>
              <a:buChar char="•"/>
            </a:pPr>
            <a:r>
              <a:rPr lang="en-US" dirty="0" smtClean="0">
                <a:solidFill>
                  <a:schemeClr val="bg1"/>
                </a:solidFill>
              </a:rPr>
              <a:t>TST 20 mm</a:t>
            </a:r>
          </a:p>
          <a:p>
            <a:pPr marL="285750" indent="-285750">
              <a:buFont typeface="Arial" pitchFamily="34" charset="0"/>
              <a:buChar char="•"/>
            </a:pPr>
            <a:r>
              <a:rPr lang="en-US" dirty="0" smtClean="0">
                <a:solidFill>
                  <a:schemeClr val="bg1"/>
                </a:solidFill>
              </a:rPr>
              <a:t>Asymptomatic</a:t>
            </a:r>
          </a:p>
          <a:p>
            <a:pPr marL="285750" indent="-285750">
              <a:buFont typeface="Arial" pitchFamily="34" charset="0"/>
              <a:buChar char="•"/>
            </a:pPr>
            <a:r>
              <a:rPr lang="en-US" dirty="0" smtClean="0">
                <a:solidFill>
                  <a:schemeClr val="bg1"/>
                </a:solidFill>
              </a:rPr>
              <a:t>Medication was not started</a:t>
            </a:r>
            <a:endParaRPr lang="en-US" dirty="0">
              <a:solidFill>
                <a:schemeClr val="bg1"/>
              </a:solidFill>
            </a:endParaRPr>
          </a:p>
        </p:txBody>
      </p:sp>
      <p:sp>
        <p:nvSpPr>
          <p:cNvPr id="8" name="Multiply 7"/>
          <p:cNvSpPr/>
          <p:nvPr>
            <p:custDataLst>
              <p:tags r:id="rId3"/>
            </p:custDataLst>
          </p:nvPr>
        </p:nvSpPr>
        <p:spPr>
          <a:xfrm>
            <a:off x="4001609" y="3276600"/>
            <a:ext cx="531181" cy="585780"/>
          </a:xfrm>
          <a:prstGeom prst="mathMultiply">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9" name="TextBox 8"/>
          <p:cNvSpPr txBox="1"/>
          <p:nvPr>
            <p:custDataLst>
              <p:tags r:id="rId4"/>
            </p:custDataLst>
          </p:nvPr>
        </p:nvSpPr>
        <p:spPr>
          <a:xfrm>
            <a:off x="5471604" y="1854161"/>
            <a:ext cx="2895600" cy="1569660"/>
          </a:xfrm>
          <a:prstGeom prst="rect">
            <a:avLst/>
          </a:prstGeom>
          <a:solidFill>
            <a:schemeClr val="accent3">
              <a:lumMod val="75000"/>
            </a:schemeClr>
          </a:solidFill>
          <a:effectLst>
            <a:glow rad="63500">
              <a:schemeClr val="accent3">
                <a:satMod val="175000"/>
                <a:alpha val="40000"/>
              </a:schemeClr>
            </a:glow>
            <a:outerShdw blurRad="50800" dist="38100" dir="8100000" algn="tr" rotWithShape="0">
              <a:prstClr val="black">
                <a:alpha val="40000"/>
              </a:prstClr>
            </a:outerShdw>
            <a:softEdge rad="63500"/>
          </a:effectLst>
        </p:spPr>
        <p:txBody>
          <a:bodyPr wrap="square" rtlCol="0">
            <a:spAutoFit/>
          </a:bodyPr>
          <a:lstStyle/>
          <a:p>
            <a:pPr algn="ctr"/>
            <a:r>
              <a:rPr lang="en-US" sz="2400" dirty="0" smtClean="0">
                <a:solidFill>
                  <a:schemeClr val="bg1"/>
                </a:solidFill>
              </a:rPr>
              <a:t>Enrolled in TBNet prior to being deported to Central America</a:t>
            </a:r>
          </a:p>
        </p:txBody>
      </p:sp>
      <p:sp>
        <p:nvSpPr>
          <p:cNvPr id="10" name="TextBox 9"/>
          <p:cNvSpPr txBox="1"/>
          <p:nvPr>
            <p:custDataLst>
              <p:tags r:id="rId5"/>
            </p:custDataLst>
          </p:nvPr>
        </p:nvSpPr>
        <p:spPr>
          <a:xfrm>
            <a:off x="5489578" y="1941250"/>
            <a:ext cx="2895600" cy="1200329"/>
          </a:xfrm>
          <a:prstGeom prst="rect">
            <a:avLst/>
          </a:prstGeom>
          <a:solidFill>
            <a:schemeClr val="accent3">
              <a:lumMod val="75000"/>
            </a:schemeClr>
          </a:solidFill>
          <a:effectLst>
            <a:glow rad="63500">
              <a:schemeClr val="accent3">
                <a:satMod val="175000"/>
                <a:alpha val="40000"/>
              </a:schemeClr>
            </a:glow>
            <a:outerShdw blurRad="50800" dist="38100" dir="8100000" algn="tr" rotWithShape="0">
              <a:prstClr val="black">
                <a:alpha val="40000"/>
              </a:prstClr>
            </a:outerShdw>
            <a:softEdge rad="63500"/>
          </a:effectLst>
        </p:spPr>
        <p:txBody>
          <a:bodyPr wrap="square" rtlCol="0">
            <a:spAutoFit/>
          </a:bodyPr>
          <a:lstStyle/>
          <a:p>
            <a:pPr algn="ctr"/>
            <a:r>
              <a:rPr lang="en-US" sz="2400" dirty="0" smtClean="0">
                <a:solidFill>
                  <a:schemeClr val="bg1"/>
                </a:solidFill>
              </a:rPr>
              <a:t>March, 2010 TBNet notified of positive culture results</a:t>
            </a:r>
          </a:p>
        </p:txBody>
      </p:sp>
      <p:pic>
        <p:nvPicPr>
          <p:cNvPr id="13" name="Picture 12"/>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5196277" y="5486400"/>
            <a:ext cx="293301" cy="293301"/>
          </a:xfrm>
          <a:prstGeom prst="rect">
            <a:avLst/>
          </a:prstGeom>
          <a:solidFill>
            <a:srgbClr val="57D3FF"/>
          </a:solidFill>
        </p:spPr>
      </p:pic>
      <p:sp>
        <p:nvSpPr>
          <p:cNvPr id="16" name="Freeform 15"/>
          <p:cNvSpPr/>
          <p:nvPr>
            <p:custDataLst>
              <p:tags r:id="rId6"/>
            </p:custDataLst>
          </p:nvPr>
        </p:nvSpPr>
        <p:spPr>
          <a:xfrm>
            <a:off x="4367569" y="3565033"/>
            <a:ext cx="1020768" cy="1906155"/>
          </a:xfrm>
          <a:custGeom>
            <a:avLst/>
            <a:gdLst>
              <a:gd name="connsiteX0" fmla="*/ 0 w 927552"/>
              <a:gd name="connsiteY0" fmla="*/ 0 h 2192784"/>
              <a:gd name="connsiteX1" fmla="*/ 807868 w 927552"/>
              <a:gd name="connsiteY1" fmla="*/ 1012054 h 2192784"/>
              <a:gd name="connsiteX2" fmla="*/ 923278 w 927552"/>
              <a:gd name="connsiteY2" fmla="*/ 2192784 h 2192784"/>
              <a:gd name="connsiteX3" fmla="*/ 923278 w 927552"/>
              <a:gd name="connsiteY3" fmla="*/ 2192784 h 2192784"/>
            </a:gdLst>
            <a:ahLst/>
            <a:cxnLst>
              <a:cxn ang="0">
                <a:pos x="connsiteX0" y="connsiteY0"/>
              </a:cxn>
              <a:cxn ang="0">
                <a:pos x="connsiteX1" y="connsiteY1"/>
              </a:cxn>
              <a:cxn ang="0">
                <a:pos x="connsiteX2" y="connsiteY2"/>
              </a:cxn>
              <a:cxn ang="0">
                <a:pos x="connsiteX3" y="connsiteY3"/>
              </a:cxn>
            </a:cxnLst>
            <a:rect l="l" t="t" r="r" b="b"/>
            <a:pathLst>
              <a:path w="927552" h="2192784">
                <a:moveTo>
                  <a:pt x="0" y="0"/>
                </a:moveTo>
                <a:cubicBezTo>
                  <a:pt x="326994" y="323295"/>
                  <a:pt x="653988" y="646590"/>
                  <a:pt x="807868" y="1012054"/>
                </a:cubicBezTo>
                <a:cubicBezTo>
                  <a:pt x="961748" y="1377518"/>
                  <a:pt x="923278" y="2192784"/>
                  <a:pt x="923278" y="2192784"/>
                </a:cubicBezTo>
                <a:lnTo>
                  <a:pt x="923278" y="2192784"/>
                </a:lnTo>
              </a:path>
            </a:pathLst>
          </a:custGeom>
          <a:noFill/>
          <a:ln w="69850" cmpd="sng">
            <a:gradFill>
              <a:gsLst>
                <a:gs pos="0">
                  <a:schemeClr val="accent3">
                    <a:lumMod val="50000"/>
                  </a:schemeClr>
                </a:gs>
                <a:gs pos="50000">
                  <a:schemeClr val="accent3">
                    <a:lumMod val="75000"/>
                  </a:schemeClr>
                </a:gs>
                <a:gs pos="100000">
                  <a:schemeClr val="accent3">
                    <a:lumMod val="60000"/>
                    <a:lumOff val="40000"/>
                  </a:schemeClr>
                </a:gs>
              </a:gsLst>
              <a:lin ang="5400000" scaled="0"/>
            </a:gradFill>
            <a:prstDash val="solid"/>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custDataLst>
              <p:tags r:id="rId7"/>
            </p:custDataLst>
          </p:nvPr>
        </p:nvSpPr>
        <p:spPr>
          <a:xfrm>
            <a:off x="6096000" y="4648200"/>
            <a:ext cx="2459182" cy="923330"/>
          </a:xfrm>
          <a:prstGeom prst="rect">
            <a:avLst/>
          </a:prstGeom>
          <a:solidFill>
            <a:schemeClr val="accent3">
              <a:lumMod val="75000"/>
            </a:schemeClr>
          </a:solidFill>
          <a:effectLst>
            <a:innerShdw blurRad="63500" dist="50800" dir="2700000">
              <a:prstClr val="black">
                <a:alpha val="50000"/>
              </a:prstClr>
            </a:innerShdw>
            <a:softEdge rad="31750"/>
          </a:effectLst>
        </p:spPr>
        <p:txBody>
          <a:bodyPr wrap="square" rtlCol="0">
            <a:spAutoFit/>
          </a:bodyPr>
          <a:lstStyle/>
          <a:p>
            <a:r>
              <a:rPr lang="en-US" dirty="0" smtClean="0">
                <a:solidFill>
                  <a:schemeClr val="bg1"/>
                </a:solidFill>
              </a:rPr>
              <a:t>Medical records sent to his home country and family notified</a:t>
            </a:r>
            <a:endParaRPr lang="en-US" dirty="0">
              <a:solidFill>
                <a:schemeClr val="bg1"/>
              </a:solidFill>
            </a:endParaRPr>
          </a:p>
        </p:txBody>
      </p:sp>
      <p:sp>
        <p:nvSpPr>
          <p:cNvPr id="18" name="TextBox 17"/>
          <p:cNvSpPr txBox="1"/>
          <p:nvPr>
            <p:custDataLst>
              <p:tags r:id="rId8"/>
            </p:custDataLst>
          </p:nvPr>
        </p:nvSpPr>
        <p:spPr>
          <a:xfrm>
            <a:off x="304800" y="5433134"/>
            <a:ext cx="3657600" cy="1200329"/>
          </a:xfrm>
          <a:prstGeom prst="rect">
            <a:avLst/>
          </a:prstGeom>
          <a:noFill/>
        </p:spPr>
        <p:txBody>
          <a:bodyPr wrap="square" rtlCol="0">
            <a:spAutoFit/>
          </a:bodyPr>
          <a:lstStyle/>
          <a:p>
            <a:r>
              <a:rPr lang="en-US" dirty="0" smtClean="0">
                <a:solidFill>
                  <a:schemeClr val="bg1"/>
                </a:solidFill>
              </a:rPr>
              <a:t>May 2010, wife calls TBNet to say that her husband is being held by “</a:t>
            </a:r>
            <a:r>
              <a:rPr lang="en-US" i="1" dirty="0" smtClean="0">
                <a:solidFill>
                  <a:schemeClr val="bg1"/>
                </a:solidFill>
              </a:rPr>
              <a:t>coyotes</a:t>
            </a:r>
            <a:r>
              <a:rPr lang="en-US" dirty="0" smtClean="0">
                <a:solidFill>
                  <a:schemeClr val="bg1"/>
                </a:solidFill>
              </a:rPr>
              <a:t>” on the west coast of the United States.</a:t>
            </a:r>
            <a:endParaRPr lang="en-US" dirty="0">
              <a:solidFill>
                <a:schemeClr val="bg1"/>
              </a:solidFill>
            </a:endParaRPr>
          </a:p>
        </p:txBody>
      </p:sp>
      <p:pic>
        <p:nvPicPr>
          <p:cNvPr id="20" name="Picture 19"/>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23295" y="4772025"/>
            <a:ext cx="714375" cy="714375"/>
          </a:xfrm>
          <a:prstGeom prst="rect">
            <a:avLst/>
          </a:prstGeom>
        </p:spPr>
      </p:pic>
      <p:sp>
        <p:nvSpPr>
          <p:cNvPr id="21" name="Freeform 20"/>
          <p:cNvSpPr/>
          <p:nvPr>
            <p:custDataLst>
              <p:tags r:id="rId9"/>
            </p:custDataLst>
          </p:nvPr>
        </p:nvSpPr>
        <p:spPr>
          <a:xfrm>
            <a:off x="1633491" y="2520479"/>
            <a:ext cx="3471169" cy="3205618"/>
          </a:xfrm>
          <a:custGeom>
            <a:avLst/>
            <a:gdLst>
              <a:gd name="connsiteX0" fmla="*/ 3471169 w 3471169"/>
              <a:gd name="connsiteY0" fmla="*/ 3205618 h 3205618"/>
              <a:gd name="connsiteX1" fmla="*/ 1526959 w 3471169"/>
              <a:gd name="connsiteY1" fmla="*/ 1723047 h 3205618"/>
              <a:gd name="connsiteX2" fmla="*/ 807868 w 3471169"/>
              <a:gd name="connsiteY2" fmla="*/ 133944 h 3205618"/>
              <a:gd name="connsiteX3" fmla="*/ 0 w 3471169"/>
              <a:gd name="connsiteY3" fmla="*/ 196088 h 3205618"/>
            </a:gdLst>
            <a:ahLst/>
            <a:cxnLst>
              <a:cxn ang="0">
                <a:pos x="connsiteX0" y="connsiteY0"/>
              </a:cxn>
              <a:cxn ang="0">
                <a:pos x="connsiteX1" y="connsiteY1"/>
              </a:cxn>
              <a:cxn ang="0">
                <a:pos x="connsiteX2" y="connsiteY2"/>
              </a:cxn>
              <a:cxn ang="0">
                <a:pos x="connsiteX3" y="connsiteY3"/>
              </a:cxn>
            </a:cxnLst>
            <a:rect l="l" t="t" r="r" b="b"/>
            <a:pathLst>
              <a:path w="3471169" h="3205618">
                <a:moveTo>
                  <a:pt x="3471169" y="3205618"/>
                </a:moveTo>
                <a:cubicBezTo>
                  <a:pt x="2721005" y="2720305"/>
                  <a:pt x="1970842" y="2234993"/>
                  <a:pt x="1526959" y="1723047"/>
                </a:cubicBezTo>
                <a:cubicBezTo>
                  <a:pt x="1083076" y="1211101"/>
                  <a:pt x="1062361" y="388437"/>
                  <a:pt x="807868" y="133944"/>
                </a:cubicBezTo>
                <a:cubicBezTo>
                  <a:pt x="553375" y="-120549"/>
                  <a:pt x="276687" y="37769"/>
                  <a:pt x="0" y="196088"/>
                </a:cubicBezTo>
              </a:path>
            </a:pathLst>
          </a:custGeom>
          <a:noFill/>
          <a:ln w="69850">
            <a:gradFill>
              <a:gsLst>
                <a:gs pos="0">
                  <a:schemeClr val="accent3">
                    <a:lumMod val="60000"/>
                    <a:lumOff val="40000"/>
                  </a:schemeClr>
                </a:gs>
                <a:gs pos="50000">
                  <a:schemeClr val="accent3">
                    <a:lumMod val="75000"/>
                  </a:schemeClr>
                </a:gs>
                <a:gs pos="100000">
                  <a:schemeClr val="accent3">
                    <a:lumMod val="50000"/>
                  </a:schemeClr>
                </a:gs>
              </a:gsLst>
              <a:lin ang="5400000" scaled="0"/>
            </a:gra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custDataLst>
              <p:tags r:id="rId10"/>
            </p:custDataLst>
          </p:nvPr>
        </p:nvSpPr>
        <p:spPr>
          <a:xfrm>
            <a:off x="371796" y="5605071"/>
            <a:ext cx="3744191" cy="923330"/>
          </a:xfrm>
          <a:prstGeom prst="rect">
            <a:avLst/>
          </a:prstGeom>
          <a:noFill/>
        </p:spPr>
        <p:txBody>
          <a:bodyPr wrap="square" rtlCol="0">
            <a:spAutoFit/>
          </a:bodyPr>
          <a:lstStyle/>
          <a:p>
            <a:r>
              <a:rPr lang="en-US" dirty="0" smtClean="0">
                <a:solidFill>
                  <a:schemeClr val="bg1"/>
                </a:solidFill>
              </a:rPr>
              <a:t>TBNet  case manager calls and is able to speak to the patient to explain the need for treatment</a:t>
            </a:r>
            <a:endParaRPr lang="en-US" dirty="0">
              <a:solidFill>
                <a:schemeClr val="bg1"/>
              </a:solidFill>
            </a:endParaRPr>
          </a:p>
        </p:txBody>
      </p:sp>
      <p:sp>
        <p:nvSpPr>
          <p:cNvPr id="23" name="TextBox 22"/>
          <p:cNvSpPr txBox="1"/>
          <p:nvPr>
            <p:custDataLst>
              <p:tags r:id="rId11"/>
            </p:custDataLst>
          </p:nvPr>
        </p:nvSpPr>
        <p:spPr>
          <a:xfrm>
            <a:off x="419469" y="5605071"/>
            <a:ext cx="3581400" cy="646331"/>
          </a:xfrm>
          <a:prstGeom prst="rect">
            <a:avLst/>
          </a:prstGeom>
          <a:noFill/>
        </p:spPr>
        <p:txBody>
          <a:bodyPr wrap="square" rtlCol="0">
            <a:spAutoFit/>
          </a:bodyPr>
          <a:lstStyle/>
          <a:p>
            <a:r>
              <a:rPr lang="en-US" dirty="0" smtClean="0">
                <a:solidFill>
                  <a:schemeClr val="bg1"/>
                </a:solidFill>
              </a:rPr>
              <a:t>TBNet staff then initiates a human trafficking investigation via ICE</a:t>
            </a:r>
            <a:endParaRPr lang="en-US" dirty="0">
              <a:solidFill>
                <a:schemeClr val="bg1"/>
              </a:solidFill>
            </a:endParaRPr>
          </a:p>
        </p:txBody>
      </p:sp>
      <p:sp>
        <p:nvSpPr>
          <p:cNvPr id="24" name="TextBox 23"/>
          <p:cNvSpPr txBox="1"/>
          <p:nvPr>
            <p:custDataLst>
              <p:tags r:id="rId12"/>
            </p:custDataLst>
          </p:nvPr>
        </p:nvSpPr>
        <p:spPr>
          <a:xfrm>
            <a:off x="5638800" y="152400"/>
            <a:ext cx="3276600" cy="923330"/>
          </a:xfrm>
          <a:prstGeom prst="rect">
            <a:avLst/>
          </a:prstGeom>
          <a:solidFill>
            <a:schemeClr val="accent1">
              <a:lumMod val="40000"/>
              <a:lumOff val="60000"/>
            </a:schemeClr>
          </a:solidFill>
          <a:effectLst>
            <a:innerShdw blurRad="63500" dist="50800" dir="2700000">
              <a:prstClr val="black">
                <a:alpha val="50000"/>
              </a:prstClr>
            </a:innerShdw>
            <a:softEdge rad="31750"/>
          </a:effectLst>
        </p:spPr>
        <p:txBody>
          <a:bodyPr wrap="square" rtlCol="0">
            <a:spAutoFit/>
          </a:bodyPr>
          <a:lstStyle/>
          <a:p>
            <a:r>
              <a:rPr lang="en-US" dirty="0" smtClean="0">
                <a:solidFill>
                  <a:schemeClr val="bg1"/>
                </a:solidFill>
              </a:rPr>
              <a:t>June 2010 patient contacts TBNet</a:t>
            </a:r>
            <a:r>
              <a:rPr lang="en-US" dirty="0">
                <a:solidFill>
                  <a:schemeClr val="bg1"/>
                </a:solidFill>
              </a:rPr>
              <a:t> </a:t>
            </a:r>
            <a:r>
              <a:rPr lang="en-US" dirty="0" smtClean="0">
                <a:solidFill>
                  <a:schemeClr val="bg1"/>
                </a:solidFill>
              </a:rPr>
              <a:t>from the east coast having been released by “</a:t>
            </a:r>
            <a:r>
              <a:rPr lang="en-US" i="1" dirty="0" smtClean="0">
                <a:solidFill>
                  <a:schemeClr val="bg1"/>
                </a:solidFill>
              </a:rPr>
              <a:t>coyotes</a:t>
            </a:r>
            <a:r>
              <a:rPr lang="en-US" dirty="0" smtClean="0">
                <a:solidFill>
                  <a:schemeClr val="bg1"/>
                </a:solidFill>
              </a:rPr>
              <a:t>”</a:t>
            </a:r>
            <a:endParaRPr lang="en-US" dirty="0">
              <a:solidFill>
                <a:schemeClr val="bg1"/>
              </a:solidFill>
            </a:endParaRPr>
          </a:p>
        </p:txBody>
      </p:sp>
      <p:sp>
        <p:nvSpPr>
          <p:cNvPr id="25" name="Freeform 24"/>
          <p:cNvSpPr/>
          <p:nvPr>
            <p:custDataLst>
              <p:tags r:id="rId13"/>
            </p:custDataLst>
          </p:nvPr>
        </p:nvSpPr>
        <p:spPr>
          <a:xfrm>
            <a:off x="1624614" y="1597981"/>
            <a:ext cx="5495277" cy="922498"/>
          </a:xfrm>
          <a:custGeom>
            <a:avLst/>
            <a:gdLst>
              <a:gd name="connsiteX0" fmla="*/ 0 w 5495277"/>
              <a:gd name="connsiteY0" fmla="*/ 878889 h 878889"/>
              <a:gd name="connsiteX1" fmla="*/ 2095130 w 5495277"/>
              <a:gd name="connsiteY1" fmla="*/ 88776 h 878889"/>
              <a:gd name="connsiteX2" fmla="*/ 3568823 w 5495277"/>
              <a:gd name="connsiteY2" fmla="*/ 301840 h 878889"/>
              <a:gd name="connsiteX3" fmla="*/ 3994951 w 5495277"/>
              <a:gd name="connsiteY3" fmla="*/ 754602 h 878889"/>
              <a:gd name="connsiteX4" fmla="*/ 5495277 w 5495277"/>
              <a:gd name="connsiteY4" fmla="*/ 0 h 87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277" h="878889">
                <a:moveTo>
                  <a:pt x="0" y="878889"/>
                </a:moveTo>
                <a:cubicBezTo>
                  <a:pt x="750163" y="531920"/>
                  <a:pt x="1500326" y="184951"/>
                  <a:pt x="2095130" y="88776"/>
                </a:cubicBezTo>
                <a:cubicBezTo>
                  <a:pt x="2689934" y="-7399"/>
                  <a:pt x="3252186" y="190869"/>
                  <a:pt x="3568823" y="301840"/>
                </a:cubicBezTo>
                <a:cubicBezTo>
                  <a:pt x="3885460" y="412811"/>
                  <a:pt x="3673875" y="804909"/>
                  <a:pt x="3994951" y="754602"/>
                </a:cubicBezTo>
                <a:cubicBezTo>
                  <a:pt x="4316027" y="704295"/>
                  <a:pt x="4905652" y="352147"/>
                  <a:pt x="5495277" y="0"/>
                </a:cubicBezTo>
              </a:path>
            </a:pathLst>
          </a:custGeom>
          <a:noFill/>
          <a:ln w="69850">
            <a:gradFill>
              <a:gsLst>
                <a:gs pos="0">
                  <a:schemeClr val="accent3">
                    <a:lumMod val="60000"/>
                    <a:lumOff val="40000"/>
                  </a:schemeClr>
                </a:gs>
                <a:gs pos="50000">
                  <a:schemeClr val="accent3">
                    <a:lumMod val="75000"/>
                  </a:schemeClr>
                </a:gs>
                <a:gs pos="100000">
                  <a:schemeClr val="accent3">
                    <a:lumMod val="50000"/>
                  </a:schemeClr>
                </a:gs>
              </a:gsLst>
              <a:lin ang="5400000" scaled="0"/>
            </a:gra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p:cNvSpPr txBox="1"/>
          <p:nvPr>
            <p:custDataLst>
              <p:tags r:id="rId14"/>
            </p:custDataLst>
          </p:nvPr>
        </p:nvSpPr>
        <p:spPr>
          <a:xfrm>
            <a:off x="5638800" y="258126"/>
            <a:ext cx="3200400" cy="923330"/>
          </a:xfrm>
          <a:prstGeom prst="rect">
            <a:avLst/>
          </a:prstGeom>
          <a:solidFill>
            <a:schemeClr val="accent1">
              <a:lumMod val="40000"/>
              <a:lumOff val="60000"/>
            </a:schemeClr>
          </a:solidFill>
          <a:effectLst>
            <a:innerShdw blurRad="63500" dist="50800" dir="2700000">
              <a:prstClr val="black">
                <a:alpha val="50000"/>
              </a:prstClr>
            </a:innerShdw>
            <a:softEdge rad="31750"/>
          </a:effectLst>
        </p:spPr>
        <p:txBody>
          <a:bodyPr wrap="square" rtlCol="0">
            <a:spAutoFit/>
          </a:bodyPr>
          <a:lstStyle/>
          <a:p>
            <a:r>
              <a:rPr lang="en-US" dirty="0" smtClean="0">
                <a:solidFill>
                  <a:schemeClr val="bg1"/>
                </a:solidFill>
              </a:rPr>
              <a:t>Medical records sent to clinic by TBNet</a:t>
            </a:r>
            <a:r>
              <a:rPr lang="en-US" dirty="0">
                <a:solidFill>
                  <a:schemeClr val="bg1"/>
                </a:solidFill>
              </a:rPr>
              <a:t> </a:t>
            </a:r>
            <a:r>
              <a:rPr lang="en-US" dirty="0" smtClean="0">
                <a:solidFill>
                  <a:schemeClr val="bg1"/>
                </a:solidFill>
              </a:rPr>
              <a:t>and patient started on 4 drug regimen using DOT</a:t>
            </a:r>
            <a:endParaRPr lang="en-US" dirty="0">
              <a:solidFill>
                <a:schemeClr val="bg1"/>
              </a:solidFill>
            </a:endParaRPr>
          </a:p>
        </p:txBody>
      </p:sp>
      <p:sp>
        <p:nvSpPr>
          <p:cNvPr id="27" name="TextBox 26"/>
          <p:cNvSpPr txBox="1"/>
          <p:nvPr>
            <p:custDataLst>
              <p:tags r:id="rId15"/>
            </p:custDataLst>
          </p:nvPr>
        </p:nvSpPr>
        <p:spPr>
          <a:xfrm>
            <a:off x="5652117" y="3963191"/>
            <a:ext cx="3352800" cy="923330"/>
          </a:xfrm>
          <a:prstGeom prst="rect">
            <a:avLst/>
          </a:prstGeom>
          <a:solidFill>
            <a:srgbClr val="BF5B09"/>
          </a:solidFill>
          <a:effectLst>
            <a:glow rad="63500">
              <a:schemeClr val="accent6">
                <a:satMod val="175000"/>
                <a:alpha val="40000"/>
              </a:schemeClr>
            </a:glow>
            <a:softEdge rad="12700"/>
          </a:effectLst>
        </p:spPr>
        <p:txBody>
          <a:bodyPr wrap="square" rtlCol="0">
            <a:spAutoFit/>
          </a:bodyPr>
          <a:lstStyle/>
          <a:p>
            <a:r>
              <a:rPr lang="en-US" dirty="0" smtClean="0">
                <a:solidFill>
                  <a:schemeClr val="bg1">
                    <a:lumMod val="95000"/>
                  </a:schemeClr>
                </a:solidFill>
              </a:rPr>
              <a:t>September 2010 patient calls TBNet to say he had moved to another east coast state</a:t>
            </a:r>
            <a:endParaRPr lang="en-US" dirty="0">
              <a:solidFill>
                <a:schemeClr val="bg1">
                  <a:lumMod val="95000"/>
                </a:schemeClr>
              </a:solidFill>
            </a:endParaRPr>
          </a:p>
        </p:txBody>
      </p:sp>
      <p:sp>
        <p:nvSpPr>
          <p:cNvPr id="28" name="&quot;No&quot; Symbol 27"/>
          <p:cNvSpPr/>
          <p:nvPr>
            <p:custDataLst>
              <p:tags r:id="rId16"/>
            </p:custDataLst>
          </p:nvPr>
        </p:nvSpPr>
        <p:spPr>
          <a:xfrm>
            <a:off x="1364203" y="2520479"/>
            <a:ext cx="304800" cy="327630"/>
          </a:xfrm>
          <a:prstGeom prst="noSmoking">
            <a:avLst/>
          </a:prstGeom>
          <a:solidFill>
            <a:srgbClr val="7A0000"/>
          </a:solidFill>
          <a:ln>
            <a:solidFill>
              <a:srgbClr val="7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9" name="5-Point Star 28"/>
          <p:cNvSpPr/>
          <p:nvPr>
            <p:custDataLst>
              <p:tags r:id="rId17"/>
            </p:custDataLst>
          </p:nvPr>
        </p:nvSpPr>
        <p:spPr>
          <a:xfrm>
            <a:off x="6650484" y="2418301"/>
            <a:ext cx="381000" cy="327630"/>
          </a:xfrm>
          <a:prstGeom prst="star5">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Freeform 29"/>
          <p:cNvSpPr/>
          <p:nvPr>
            <p:custDataLst>
              <p:tags r:id="rId18"/>
            </p:custDataLst>
          </p:nvPr>
        </p:nvSpPr>
        <p:spPr>
          <a:xfrm>
            <a:off x="7004482" y="1509204"/>
            <a:ext cx="545985" cy="941033"/>
          </a:xfrm>
          <a:custGeom>
            <a:avLst/>
            <a:gdLst>
              <a:gd name="connsiteX0" fmla="*/ 399495 w 545985"/>
              <a:gd name="connsiteY0" fmla="*/ 0 h 941033"/>
              <a:gd name="connsiteX1" fmla="*/ 523782 w 545985"/>
              <a:gd name="connsiteY1" fmla="*/ 701336 h 941033"/>
              <a:gd name="connsiteX2" fmla="*/ 0 w 545985"/>
              <a:gd name="connsiteY2" fmla="*/ 941033 h 941033"/>
            </a:gdLst>
            <a:ahLst/>
            <a:cxnLst>
              <a:cxn ang="0">
                <a:pos x="connsiteX0" y="connsiteY0"/>
              </a:cxn>
              <a:cxn ang="0">
                <a:pos x="connsiteX1" y="connsiteY1"/>
              </a:cxn>
              <a:cxn ang="0">
                <a:pos x="connsiteX2" y="connsiteY2"/>
              </a:cxn>
            </a:cxnLst>
            <a:rect l="l" t="t" r="r" b="b"/>
            <a:pathLst>
              <a:path w="545985" h="941033">
                <a:moveTo>
                  <a:pt x="399495" y="0"/>
                </a:moveTo>
                <a:cubicBezTo>
                  <a:pt x="494930" y="272248"/>
                  <a:pt x="590365" y="544497"/>
                  <a:pt x="523782" y="701336"/>
                </a:cubicBezTo>
                <a:cubicBezTo>
                  <a:pt x="457200" y="858175"/>
                  <a:pt x="228600" y="899604"/>
                  <a:pt x="0" y="941033"/>
                </a:cubicBezTo>
              </a:path>
            </a:pathLst>
          </a:custGeom>
          <a:noFill/>
          <a:ln w="69850">
            <a:gradFill>
              <a:gsLst>
                <a:gs pos="0">
                  <a:schemeClr val="accent3">
                    <a:lumMod val="60000"/>
                    <a:lumOff val="40000"/>
                  </a:schemeClr>
                </a:gs>
                <a:gs pos="50000">
                  <a:schemeClr val="accent3">
                    <a:lumMod val="75000"/>
                  </a:schemeClr>
                </a:gs>
                <a:gs pos="100000">
                  <a:schemeClr val="accent3">
                    <a:lumMod val="50000"/>
                  </a:schemeClr>
                </a:gs>
              </a:gsLst>
              <a:lin ang="5400000" scaled="0"/>
            </a:gra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lowchart: Extract 30"/>
          <p:cNvSpPr/>
          <p:nvPr>
            <p:custDataLst>
              <p:tags r:id="rId19"/>
            </p:custDataLst>
          </p:nvPr>
        </p:nvSpPr>
        <p:spPr>
          <a:xfrm>
            <a:off x="7086600" y="1371600"/>
            <a:ext cx="266699" cy="226381"/>
          </a:xfrm>
          <a:prstGeom prst="flowChartExtract">
            <a:avLst/>
          </a:prstGeom>
          <a:solidFill>
            <a:schemeClr val="accent1">
              <a:lumMod val="60000"/>
              <a:lumOff val="40000"/>
            </a:schemeClr>
          </a:solidFill>
          <a:ln>
            <a:solidFill>
              <a:schemeClr val="accent1">
                <a:lumMod val="60000"/>
                <a:lumOff val="40000"/>
              </a:schemeClr>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p:cNvSpPr txBox="1"/>
          <p:nvPr>
            <p:custDataLst>
              <p:tags r:id="rId20"/>
            </p:custDataLst>
          </p:nvPr>
        </p:nvSpPr>
        <p:spPr>
          <a:xfrm>
            <a:off x="5638800" y="3141579"/>
            <a:ext cx="3352800" cy="2031325"/>
          </a:xfrm>
          <a:prstGeom prst="rect">
            <a:avLst/>
          </a:prstGeom>
          <a:solidFill>
            <a:srgbClr val="BF5B09"/>
          </a:solidFill>
          <a:effectLst>
            <a:glow rad="63500">
              <a:schemeClr val="accent6">
                <a:satMod val="175000"/>
                <a:alpha val="40000"/>
              </a:schemeClr>
            </a:glow>
            <a:softEdge rad="12700"/>
          </a:effectLst>
        </p:spPr>
        <p:txBody>
          <a:bodyPr wrap="square" rtlCol="0">
            <a:spAutoFit/>
          </a:bodyPr>
          <a:lstStyle/>
          <a:p>
            <a:pPr marL="285750" indent="-285750">
              <a:buFont typeface="Arial" pitchFamily="34" charset="0"/>
              <a:buChar char="•"/>
            </a:pPr>
            <a:r>
              <a:rPr lang="en-US" dirty="0" smtClean="0">
                <a:solidFill>
                  <a:schemeClr val="bg1">
                    <a:lumMod val="95000"/>
                  </a:schemeClr>
                </a:solidFill>
              </a:rPr>
              <a:t>Clinic found</a:t>
            </a:r>
          </a:p>
          <a:p>
            <a:pPr marL="285750" indent="-285750">
              <a:buFont typeface="Arial" pitchFamily="34" charset="0"/>
              <a:buChar char="•"/>
            </a:pPr>
            <a:r>
              <a:rPr lang="en-US" dirty="0" smtClean="0">
                <a:solidFill>
                  <a:schemeClr val="bg1">
                    <a:lumMod val="95000"/>
                  </a:schemeClr>
                </a:solidFill>
              </a:rPr>
              <a:t>Appointment made </a:t>
            </a:r>
          </a:p>
          <a:p>
            <a:pPr marL="285750" indent="-285750">
              <a:buFont typeface="Arial" pitchFamily="34" charset="0"/>
              <a:buChar char="•"/>
            </a:pPr>
            <a:r>
              <a:rPr lang="en-US" dirty="0" smtClean="0">
                <a:solidFill>
                  <a:schemeClr val="bg1">
                    <a:lumMod val="95000"/>
                  </a:schemeClr>
                </a:solidFill>
              </a:rPr>
              <a:t>Medical records transferred from both previous clinics</a:t>
            </a:r>
          </a:p>
          <a:p>
            <a:pPr marL="285750" indent="-285750">
              <a:buFont typeface="Arial" pitchFamily="34" charset="0"/>
              <a:buChar char="•"/>
            </a:pPr>
            <a:r>
              <a:rPr lang="en-US" dirty="0" smtClean="0">
                <a:solidFill>
                  <a:schemeClr val="bg1">
                    <a:lumMod val="95000"/>
                  </a:schemeClr>
                </a:solidFill>
              </a:rPr>
              <a:t>Patient resumed DOT</a:t>
            </a:r>
          </a:p>
          <a:p>
            <a:pPr marL="285750" indent="-285750">
              <a:buFont typeface="Arial" pitchFamily="34" charset="0"/>
              <a:buChar char="•"/>
            </a:pPr>
            <a:r>
              <a:rPr lang="en-US" dirty="0" smtClean="0">
                <a:solidFill>
                  <a:schemeClr val="bg1">
                    <a:lumMod val="95000"/>
                  </a:schemeClr>
                </a:solidFill>
              </a:rPr>
              <a:t>Wife in Central America updated on his progress</a:t>
            </a:r>
            <a:endParaRPr lang="en-US" dirty="0">
              <a:solidFill>
                <a:schemeClr val="bg1">
                  <a:lumMod val="95000"/>
                </a:schemeClr>
              </a:solidFill>
            </a:endParaRPr>
          </a:p>
        </p:txBody>
      </p:sp>
      <p:sp>
        <p:nvSpPr>
          <p:cNvPr id="33" name="Rectangle 32"/>
          <p:cNvSpPr/>
          <p:nvPr>
            <p:custDataLst>
              <p:tags r:id="rId21"/>
            </p:custDataLst>
          </p:nvPr>
        </p:nvSpPr>
        <p:spPr>
          <a:xfrm>
            <a:off x="6705600" y="3581400"/>
            <a:ext cx="1996896" cy="2226089"/>
          </a:xfrm>
          <a:prstGeom prst="rect">
            <a:avLst/>
          </a:prstGeom>
          <a:solidFill>
            <a:schemeClr val="lt1">
              <a:alpha val="0"/>
            </a:schemeClr>
          </a:solidFill>
          <a:ln>
            <a:noFill/>
          </a:ln>
        </p:spPr>
        <p:style>
          <a:lnRef idx="2">
            <a:schemeClr val="accent4"/>
          </a:lnRef>
          <a:fillRef idx="1">
            <a:schemeClr val="lt1"/>
          </a:fillRef>
          <a:effectRef idx="0">
            <a:schemeClr val="accent4"/>
          </a:effectRef>
          <a:fontRef idx="minor">
            <a:schemeClr val="dk1"/>
          </a:fontRef>
        </p:style>
        <p:txBody>
          <a:bodyPr wrap="none" lIns="91440" tIns="45720" rIns="91440" bIns="45720">
            <a:normAutofit fontScale="92500" lnSpcReduction="10000"/>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5400" b="1" cap="none" spc="0" dirty="0" smtClean="0">
                <a:ln>
                  <a:solidFill>
                    <a:srgbClr val="669900"/>
                  </a:solidFill>
                </a:ln>
                <a:solidFill>
                  <a:srgbClr val="698335"/>
                </a:solidFill>
                <a:effectLst/>
              </a:rPr>
              <a:t>Treatment </a:t>
            </a:r>
          </a:p>
          <a:p>
            <a:pPr algn="ctr"/>
            <a:r>
              <a:rPr lang="en-US" sz="5400" b="1" cap="none" spc="0" dirty="0" smtClean="0">
                <a:ln>
                  <a:solidFill>
                    <a:srgbClr val="669900"/>
                  </a:solidFill>
                </a:ln>
                <a:solidFill>
                  <a:srgbClr val="698335"/>
                </a:solidFill>
                <a:effectLst/>
              </a:rPr>
              <a:t>completed </a:t>
            </a:r>
          </a:p>
          <a:p>
            <a:pPr algn="ctr"/>
            <a:r>
              <a:rPr lang="en-US" sz="5400" b="1" cap="none" spc="0" dirty="0" smtClean="0">
                <a:ln>
                  <a:solidFill>
                    <a:srgbClr val="669900"/>
                  </a:solidFill>
                </a:ln>
                <a:solidFill>
                  <a:srgbClr val="698335"/>
                </a:solidFill>
                <a:effectLst/>
              </a:rPr>
              <a:t>April, 2011</a:t>
            </a:r>
            <a:endParaRPr lang="en-US" sz="5400" b="1" cap="none" spc="0" dirty="0">
              <a:ln>
                <a:solidFill>
                  <a:srgbClr val="669900"/>
                </a:solidFill>
              </a:ln>
              <a:solidFill>
                <a:srgbClr val="698335"/>
              </a:solidFill>
              <a:effectLst/>
            </a:endParaRPr>
          </a:p>
        </p:txBody>
      </p:sp>
      <p:pic>
        <p:nvPicPr>
          <p:cNvPr id="5" name="Picture 4"/>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rot="444767">
            <a:off x="3798983" y="1581645"/>
            <a:ext cx="1217072" cy="1452372"/>
          </a:xfrm>
          <a:prstGeom prst="rect">
            <a:avLst/>
          </a:prstGeom>
        </p:spPr>
      </p:pic>
    </p:spTree>
    <p:custDataLst>
      <p:tags r:id="rId1"/>
    </p:custDataLst>
    <p:extLst>
      <p:ext uri="{BB962C8B-B14F-4D97-AF65-F5344CB8AC3E}">
        <p14:creationId xmlns:p14="http://schemas.microsoft.com/office/powerpoint/2010/main" val="3974734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ircle(in)">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down)">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grpId="1" nodeType="clickEffect">
                                  <p:stCondLst>
                                    <p:cond delay="0"/>
                                  </p:stCondLst>
                                  <p:childTnLst>
                                    <p:set>
                                      <p:cBhvr>
                                        <p:cTn id="23" dur="1" fill="hold">
                                          <p:stCondLst>
                                            <p:cond delay="0"/>
                                          </p:stCondLst>
                                        </p:cTn>
                                        <p:tgtEl>
                                          <p:spTgt spid="3"/>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grpId="1" nodeType="clickEffect">
                                  <p:stCondLst>
                                    <p:cond delay="0"/>
                                  </p:stCondLst>
                                  <p:childTnLst>
                                    <p:set>
                                      <p:cBhvr>
                                        <p:cTn id="32" dur="1" fill="hold">
                                          <p:stCondLst>
                                            <p:cond delay="0"/>
                                          </p:stCondLst>
                                        </p:cTn>
                                        <p:tgtEl>
                                          <p:spTgt spid="9"/>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xit" presetSubtype="0" fill="hold" grpId="1" nodeType="clickEffect">
                                  <p:stCondLst>
                                    <p:cond delay="0"/>
                                  </p:stCondLst>
                                  <p:childTnLst>
                                    <p:set>
                                      <p:cBhvr>
                                        <p:cTn id="41" dur="1" fill="hold">
                                          <p:stCondLst>
                                            <p:cond delay="0"/>
                                          </p:stCondLst>
                                        </p:cTn>
                                        <p:tgtEl>
                                          <p:spTgt spid="10"/>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1000"/>
                                        <p:tgtEl>
                                          <p:spTgt spid="13"/>
                                        </p:tgtEl>
                                      </p:cBhvr>
                                    </p:animEffect>
                                    <p:anim calcmode="lin" valueType="num">
                                      <p:cBhvr>
                                        <p:cTn id="47" dur="1000" fill="hold"/>
                                        <p:tgtEl>
                                          <p:spTgt spid="13"/>
                                        </p:tgtEl>
                                        <p:attrNameLst>
                                          <p:attrName>ppt_x</p:attrName>
                                        </p:attrNameLst>
                                      </p:cBhvr>
                                      <p:tavLst>
                                        <p:tav tm="0">
                                          <p:val>
                                            <p:strVal val="#ppt_x"/>
                                          </p:val>
                                        </p:tav>
                                        <p:tav tm="100000">
                                          <p:val>
                                            <p:strVal val="#ppt_x"/>
                                          </p:val>
                                        </p:tav>
                                      </p:tavLst>
                                    </p:anim>
                                    <p:anim calcmode="lin" valueType="num">
                                      <p:cBhvr>
                                        <p:cTn id="48" dur="1000" fill="hold"/>
                                        <p:tgtEl>
                                          <p:spTgt spid="13"/>
                                        </p:tgtEl>
                                        <p:attrNameLst>
                                          <p:attrName>ppt_y</p:attrName>
                                        </p:attrNameLst>
                                      </p:cBhvr>
                                      <p:tavLst>
                                        <p:tav tm="0">
                                          <p:val>
                                            <p:strVal val="#ppt_y+.1"/>
                                          </p:val>
                                        </p:tav>
                                        <p:tav tm="100000">
                                          <p:val>
                                            <p:strVal val="#ppt_y"/>
                                          </p:val>
                                        </p:tav>
                                      </p:tavLst>
                                    </p:anim>
                                  </p:childTnLst>
                                </p:cTn>
                              </p:par>
                              <p:par>
                                <p:cTn id="49" presetID="22" presetClass="entr" presetSubtype="1"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wipe(up)">
                                      <p:cBhvr>
                                        <p:cTn id="51" dur="500"/>
                                        <p:tgtEl>
                                          <p:spTgt spid="16"/>
                                        </p:tgtEl>
                                      </p:cBhvr>
                                    </p:animEffect>
                                  </p:childTnLst>
                                </p:cTn>
                              </p:par>
                              <p:par>
                                <p:cTn id="52" presetID="22" presetClass="entr" presetSubtype="4" fill="hold" grpId="0"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wipe(down)">
                                      <p:cBhvr>
                                        <p:cTn id="54" dur="500"/>
                                        <p:tgtEl>
                                          <p:spTgt spid="17"/>
                                        </p:tgtEl>
                                      </p:cBhvr>
                                    </p:animEffect>
                                  </p:childTnLst>
                                </p:cTn>
                              </p:par>
                            </p:childTnLst>
                          </p:cTn>
                        </p:par>
                      </p:childTnLst>
                    </p:cTn>
                  </p:par>
                  <p:par>
                    <p:cTn id="55" fill="hold">
                      <p:stCondLst>
                        <p:cond delay="indefinite"/>
                      </p:stCondLst>
                      <p:childTnLst>
                        <p:par>
                          <p:cTn id="56" fill="hold">
                            <p:stCondLst>
                              <p:cond delay="0"/>
                            </p:stCondLst>
                            <p:childTnLst>
                              <p:par>
                                <p:cTn id="57" presetID="16" presetClass="exit" presetSubtype="21" fill="hold" grpId="1" nodeType="clickEffect">
                                  <p:stCondLst>
                                    <p:cond delay="0"/>
                                  </p:stCondLst>
                                  <p:childTnLst>
                                    <p:animEffect transition="out" filter="barn(inVertical)">
                                      <p:cBhvr>
                                        <p:cTn id="58" dur="500"/>
                                        <p:tgtEl>
                                          <p:spTgt spid="17"/>
                                        </p:tgtEl>
                                      </p:cBhvr>
                                    </p:animEffect>
                                    <p:set>
                                      <p:cBhvr>
                                        <p:cTn id="59" dur="1" fill="hold">
                                          <p:stCondLst>
                                            <p:cond delay="499"/>
                                          </p:stCondLst>
                                        </p:cTn>
                                        <p:tgtEl>
                                          <p:spTgt spid="17"/>
                                        </p:tgtEl>
                                        <p:attrNameLst>
                                          <p:attrName>style.visibility</p:attrName>
                                        </p:attrNameLst>
                                      </p:cBhvr>
                                      <p:to>
                                        <p:strVal val="hidden"/>
                                      </p:to>
                                    </p:set>
                                  </p:childTnLst>
                                </p:cTn>
                              </p:par>
                              <p:par>
                                <p:cTn id="60" presetID="10" presetClass="entr" presetSubtype="0" fill="hold" nodeType="with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fade">
                                      <p:cBhvr>
                                        <p:cTn id="62" dur="500"/>
                                        <p:tgtEl>
                                          <p:spTgt spid="2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fade">
                                      <p:cBhvr>
                                        <p:cTn id="65" dur="500"/>
                                        <p:tgtEl>
                                          <p:spTgt spid="18"/>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wipe(down)">
                                      <p:cBhvr>
                                        <p:cTn id="68" dur="500"/>
                                        <p:tgtEl>
                                          <p:spTgt spid="21"/>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4" fill="hold" grpId="0" nodeType="click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wipe(down)">
                                      <p:cBhvr>
                                        <p:cTn id="73" dur="500"/>
                                        <p:tgtEl>
                                          <p:spTgt spid="28"/>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xit" presetSubtype="4" fill="hold" grpId="1" nodeType="clickEffect">
                                  <p:stCondLst>
                                    <p:cond delay="0"/>
                                  </p:stCondLst>
                                  <p:childTnLst>
                                    <p:animEffect transition="out" filter="wipe(down)">
                                      <p:cBhvr>
                                        <p:cTn id="77" dur="500"/>
                                        <p:tgtEl>
                                          <p:spTgt spid="18"/>
                                        </p:tgtEl>
                                      </p:cBhvr>
                                    </p:animEffect>
                                    <p:set>
                                      <p:cBhvr>
                                        <p:cTn id="78" dur="1" fill="hold">
                                          <p:stCondLst>
                                            <p:cond delay="499"/>
                                          </p:stCondLst>
                                        </p:cTn>
                                        <p:tgtEl>
                                          <p:spTgt spid="18"/>
                                        </p:tgtEl>
                                        <p:attrNameLst>
                                          <p:attrName>style.visibility</p:attrName>
                                        </p:attrNameLst>
                                      </p:cBhvr>
                                      <p:to>
                                        <p:strVal val="hidden"/>
                                      </p:to>
                                    </p:set>
                                  </p:childTnLst>
                                </p:cTn>
                              </p:par>
                            </p:childTnLst>
                          </p:cTn>
                        </p:par>
                      </p:childTnLst>
                    </p:cTn>
                  </p:par>
                  <p:par>
                    <p:cTn id="79" fill="hold">
                      <p:stCondLst>
                        <p:cond delay="indefinite"/>
                      </p:stCondLst>
                      <p:childTnLst>
                        <p:par>
                          <p:cTn id="80" fill="hold">
                            <p:stCondLst>
                              <p:cond delay="0"/>
                            </p:stCondLst>
                            <p:childTnLst>
                              <p:par>
                                <p:cTn id="81" presetID="22" presetClass="entr" presetSubtype="4" fill="hold" grpId="0" nodeType="clickEffect">
                                  <p:stCondLst>
                                    <p:cond delay="0"/>
                                  </p:stCondLst>
                                  <p:childTnLst>
                                    <p:set>
                                      <p:cBhvr>
                                        <p:cTn id="82" dur="1" fill="hold">
                                          <p:stCondLst>
                                            <p:cond delay="0"/>
                                          </p:stCondLst>
                                        </p:cTn>
                                        <p:tgtEl>
                                          <p:spTgt spid="22"/>
                                        </p:tgtEl>
                                        <p:attrNameLst>
                                          <p:attrName>style.visibility</p:attrName>
                                        </p:attrNameLst>
                                      </p:cBhvr>
                                      <p:to>
                                        <p:strVal val="visible"/>
                                      </p:to>
                                    </p:set>
                                    <p:animEffect transition="in" filter="wipe(down)">
                                      <p:cBhvr>
                                        <p:cTn id="83" dur="500"/>
                                        <p:tgtEl>
                                          <p:spTgt spid="22"/>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xit" presetSubtype="0" fill="hold" grpId="1" nodeType="clickEffect">
                                  <p:stCondLst>
                                    <p:cond delay="0"/>
                                  </p:stCondLst>
                                  <p:childTnLst>
                                    <p:animEffect transition="out" filter="fade">
                                      <p:cBhvr>
                                        <p:cTn id="87" dur="500"/>
                                        <p:tgtEl>
                                          <p:spTgt spid="22"/>
                                        </p:tgtEl>
                                      </p:cBhvr>
                                    </p:animEffect>
                                    <p:set>
                                      <p:cBhvr>
                                        <p:cTn id="88" dur="1" fill="hold">
                                          <p:stCondLst>
                                            <p:cond delay="499"/>
                                          </p:stCondLst>
                                        </p:cTn>
                                        <p:tgtEl>
                                          <p:spTgt spid="22"/>
                                        </p:tgtEl>
                                        <p:attrNameLst>
                                          <p:attrName>style.visibility</p:attrName>
                                        </p:attrNameLst>
                                      </p:cBhvr>
                                      <p:to>
                                        <p:strVal val="hidden"/>
                                      </p:to>
                                    </p:set>
                                  </p:childTnLst>
                                </p:cTn>
                              </p:par>
                            </p:childTnLst>
                          </p:cTn>
                        </p:par>
                      </p:childTnLst>
                    </p:cTn>
                  </p:par>
                  <p:par>
                    <p:cTn id="89" fill="hold">
                      <p:stCondLst>
                        <p:cond delay="indefinite"/>
                      </p:stCondLst>
                      <p:childTnLst>
                        <p:par>
                          <p:cTn id="90" fill="hold">
                            <p:stCondLst>
                              <p:cond delay="0"/>
                            </p:stCondLst>
                            <p:childTnLst>
                              <p:par>
                                <p:cTn id="91" presetID="22" presetClass="entr" presetSubtype="4" fill="hold" grpId="0" nodeType="clickEffect">
                                  <p:stCondLst>
                                    <p:cond delay="0"/>
                                  </p:stCondLst>
                                  <p:childTnLst>
                                    <p:set>
                                      <p:cBhvr>
                                        <p:cTn id="92" dur="1" fill="hold">
                                          <p:stCondLst>
                                            <p:cond delay="0"/>
                                          </p:stCondLst>
                                        </p:cTn>
                                        <p:tgtEl>
                                          <p:spTgt spid="23"/>
                                        </p:tgtEl>
                                        <p:attrNameLst>
                                          <p:attrName>style.visibility</p:attrName>
                                        </p:attrNameLst>
                                      </p:cBhvr>
                                      <p:to>
                                        <p:strVal val="visible"/>
                                      </p:to>
                                    </p:set>
                                    <p:animEffect transition="in" filter="wipe(down)">
                                      <p:cBhvr>
                                        <p:cTn id="93" dur="500"/>
                                        <p:tgtEl>
                                          <p:spTgt spid="23"/>
                                        </p:tgtEl>
                                      </p:cBhvr>
                                    </p:animEffect>
                                  </p:childTnLst>
                                </p:cTn>
                              </p:par>
                            </p:childTnLst>
                          </p:cTn>
                        </p:par>
                      </p:childTnLst>
                    </p:cTn>
                  </p:par>
                  <p:par>
                    <p:cTn id="94" fill="hold">
                      <p:stCondLst>
                        <p:cond delay="indefinite"/>
                      </p:stCondLst>
                      <p:childTnLst>
                        <p:par>
                          <p:cTn id="95" fill="hold">
                            <p:stCondLst>
                              <p:cond delay="0"/>
                            </p:stCondLst>
                            <p:childTnLst>
                              <p:par>
                                <p:cTn id="96" presetID="42" presetClass="exit" presetSubtype="0" fill="hold" grpId="1" nodeType="clickEffect">
                                  <p:stCondLst>
                                    <p:cond delay="0"/>
                                  </p:stCondLst>
                                  <p:childTnLst>
                                    <p:animEffect transition="out" filter="fade">
                                      <p:cBhvr>
                                        <p:cTn id="97" dur="1000"/>
                                        <p:tgtEl>
                                          <p:spTgt spid="23"/>
                                        </p:tgtEl>
                                      </p:cBhvr>
                                    </p:animEffect>
                                    <p:anim calcmode="lin" valueType="num">
                                      <p:cBhvr>
                                        <p:cTn id="98" dur="1000"/>
                                        <p:tgtEl>
                                          <p:spTgt spid="23"/>
                                        </p:tgtEl>
                                        <p:attrNameLst>
                                          <p:attrName>ppt_x</p:attrName>
                                        </p:attrNameLst>
                                      </p:cBhvr>
                                      <p:tavLst>
                                        <p:tav tm="0">
                                          <p:val>
                                            <p:strVal val="ppt_x"/>
                                          </p:val>
                                        </p:tav>
                                        <p:tav tm="100000">
                                          <p:val>
                                            <p:strVal val="ppt_x"/>
                                          </p:val>
                                        </p:tav>
                                      </p:tavLst>
                                    </p:anim>
                                    <p:anim calcmode="lin" valueType="num">
                                      <p:cBhvr>
                                        <p:cTn id="99" dur="1000"/>
                                        <p:tgtEl>
                                          <p:spTgt spid="23"/>
                                        </p:tgtEl>
                                        <p:attrNameLst>
                                          <p:attrName>ppt_y</p:attrName>
                                        </p:attrNameLst>
                                      </p:cBhvr>
                                      <p:tavLst>
                                        <p:tav tm="0">
                                          <p:val>
                                            <p:strVal val="ppt_y"/>
                                          </p:val>
                                        </p:tav>
                                        <p:tav tm="100000">
                                          <p:val>
                                            <p:strVal val="ppt_y+.1"/>
                                          </p:val>
                                        </p:tav>
                                      </p:tavLst>
                                    </p:anim>
                                    <p:set>
                                      <p:cBhvr>
                                        <p:cTn id="100" dur="1" fill="hold">
                                          <p:stCondLst>
                                            <p:cond delay="999"/>
                                          </p:stCondLst>
                                        </p:cTn>
                                        <p:tgtEl>
                                          <p:spTgt spid="23"/>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500"/>
                                        <p:tgtEl>
                                          <p:spTgt spid="20"/>
                                        </p:tgtEl>
                                      </p:cBhvr>
                                    </p:animEffect>
                                    <p:set>
                                      <p:cBhvr>
                                        <p:cTn id="103" dur="1" fill="hold">
                                          <p:stCondLst>
                                            <p:cond delay="499"/>
                                          </p:stCondLst>
                                        </p:cTn>
                                        <p:tgtEl>
                                          <p:spTgt spid="20"/>
                                        </p:tgtEl>
                                        <p:attrNameLst>
                                          <p:attrName>style.visibility</p:attrName>
                                        </p:attrNameLst>
                                      </p:cBhvr>
                                      <p:to>
                                        <p:strVal val="hidden"/>
                                      </p:to>
                                    </p:set>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0" nodeType="clickEffect">
                                  <p:stCondLst>
                                    <p:cond delay="0"/>
                                  </p:stCondLst>
                                  <p:childTnLst>
                                    <p:set>
                                      <p:cBhvr>
                                        <p:cTn id="107" dur="1" fill="hold">
                                          <p:stCondLst>
                                            <p:cond delay="0"/>
                                          </p:stCondLst>
                                        </p:cTn>
                                        <p:tgtEl>
                                          <p:spTgt spid="24"/>
                                        </p:tgtEl>
                                        <p:attrNameLst>
                                          <p:attrName>style.visibility</p:attrName>
                                        </p:attrNameLst>
                                      </p:cBhvr>
                                      <p:to>
                                        <p:strVal val="visible"/>
                                      </p:to>
                                    </p:set>
                                    <p:animEffect transition="in" filter="fade">
                                      <p:cBhvr>
                                        <p:cTn id="108" dur="750"/>
                                        <p:tgtEl>
                                          <p:spTgt spid="24"/>
                                        </p:tgtEl>
                                      </p:cBhvr>
                                    </p:animEffect>
                                  </p:childTnLst>
                                </p:cTn>
                              </p:par>
                              <p:par>
                                <p:cTn id="109" presetID="22" presetClass="entr" presetSubtype="8" fill="hold" grpId="0" nodeType="withEffect">
                                  <p:stCondLst>
                                    <p:cond delay="0"/>
                                  </p:stCondLst>
                                  <p:childTnLst>
                                    <p:set>
                                      <p:cBhvr>
                                        <p:cTn id="110" dur="1" fill="hold">
                                          <p:stCondLst>
                                            <p:cond delay="0"/>
                                          </p:stCondLst>
                                        </p:cTn>
                                        <p:tgtEl>
                                          <p:spTgt spid="25"/>
                                        </p:tgtEl>
                                        <p:attrNameLst>
                                          <p:attrName>style.visibility</p:attrName>
                                        </p:attrNameLst>
                                      </p:cBhvr>
                                      <p:to>
                                        <p:strVal val="visible"/>
                                      </p:to>
                                    </p:set>
                                    <p:animEffect transition="in" filter="wipe(left)">
                                      <p:cBhvr>
                                        <p:cTn id="111" dur="500"/>
                                        <p:tgtEl>
                                          <p:spTgt spid="25"/>
                                        </p:tgtEl>
                                      </p:cBhvr>
                                    </p:animEffect>
                                  </p:childTnLst>
                                </p:cTn>
                              </p:par>
                              <p:par>
                                <p:cTn id="112" presetID="6" presetClass="entr" presetSubtype="16" fill="hold" grpId="0" nodeType="withEffect">
                                  <p:stCondLst>
                                    <p:cond delay="0"/>
                                  </p:stCondLst>
                                  <p:childTnLst>
                                    <p:set>
                                      <p:cBhvr>
                                        <p:cTn id="113" dur="1" fill="hold">
                                          <p:stCondLst>
                                            <p:cond delay="0"/>
                                          </p:stCondLst>
                                        </p:cTn>
                                        <p:tgtEl>
                                          <p:spTgt spid="31"/>
                                        </p:tgtEl>
                                        <p:attrNameLst>
                                          <p:attrName>style.visibility</p:attrName>
                                        </p:attrNameLst>
                                      </p:cBhvr>
                                      <p:to>
                                        <p:strVal val="visible"/>
                                      </p:to>
                                    </p:set>
                                    <p:animEffect transition="in" filter="circle(in)">
                                      <p:cBhvr>
                                        <p:cTn id="114" dur="1000"/>
                                        <p:tgtEl>
                                          <p:spTgt spid="31"/>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xit" presetSubtype="0" fill="hold" grpId="1" nodeType="clickEffect">
                                  <p:stCondLst>
                                    <p:cond delay="0"/>
                                  </p:stCondLst>
                                  <p:childTnLst>
                                    <p:animEffect transition="out" filter="fade">
                                      <p:cBhvr>
                                        <p:cTn id="118" dur="750"/>
                                        <p:tgtEl>
                                          <p:spTgt spid="24"/>
                                        </p:tgtEl>
                                      </p:cBhvr>
                                    </p:animEffect>
                                    <p:set>
                                      <p:cBhvr>
                                        <p:cTn id="119" dur="1" fill="hold">
                                          <p:stCondLst>
                                            <p:cond delay="749"/>
                                          </p:stCondLst>
                                        </p:cTn>
                                        <p:tgtEl>
                                          <p:spTgt spid="24"/>
                                        </p:tgtEl>
                                        <p:attrNameLst>
                                          <p:attrName>style.visibility</p:attrName>
                                        </p:attrNameLst>
                                      </p:cBhvr>
                                      <p:to>
                                        <p:strVal val="hidden"/>
                                      </p:to>
                                    </p:set>
                                  </p:childTnLst>
                                </p:cTn>
                              </p:par>
                            </p:childTnLst>
                          </p:cTn>
                        </p:par>
                      </p:childTnLst>
                    </p:cTn>
                  </p:par>
                  <p:par>
                    <p:cTn id="120" fill="hold">
                      <p:stCondLst>
                        <p:cond delay="indefinite"/>
                      </p:stCondLst>
                      <p:childTnLst>
                        <p:par>
                          <p:cTn id="121" fill="hold">
                            <p:stCondLst>
                              <p:cond delay="0"/>
                            </p:stCondLst>
                            <p:childTnLst>
                              <p:par>
                                <p:cTn id="122" presetID="22" presetClass="entr" presetSubtype="4" fill="hold" grpId="0" nodeType="clickEffect">
                                  <p:stCondLst>
                                    <p:cond delay="0"/>
                                  </p:stCondLst>
                                  <p:childTnLst>
                                    <p:set>
                                      <p:cBhvr>
                                        <p:cTn id="123" dur="1" fill="hold">
                                          <p:stCondLst>
                                            <p:cond delay="0"/>
                                          </p:stCondLst>
                                        </p:cTn>
                                        <p:tgtEl>
                                          <p:spTgt spid="26"/>
                                        </p:tgtEl>
                                        <p:attrNameLst>
                                          <p:attrName>style.visibility</p:attrName>
                                        </p:attrNameLst>
                                      </p:cBhvr>
                                      <p:to>
                                        <p:strVal val="visible"/>
                                      </p:to>
                                    </p:set>
                                    <p:animEffect transition="in" filter="wipe(down)">
                                      <p:cBhvr>
                                        <p:cTn id="124" dur="500"/>
                                        <p:tgtEl>
                                          <p:spTgt spid="26"/>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xit" presetSubtype="0" fill="hold" grpId="1" nodeType="clickEffect">
                                  <p:stCondLst>
                                    <p:cond delay="0"/>
                                  </p:stCondLst>
                                  <p:childTnLst>
                                    <p:animEffect transition="out" filter="fade">
                                      <p:cBhvr>
                                        <p:cTn id="128" dur="500"/>
                                        <p:tgtEl>
                                          <p:spTgt spid="26"/>
                                        </p:tgtEl>
                                      </p:cBhvr>
                                    </p:animEffect>
                                    <p:set>
                                      <p:cBhvr>
                                        <p:cTn id="129" dur="1" fill="hold">
                                          <p:stCondLst>
                                            <p:cond delay="499"/>
                                          </p:stCondLst>
                                        </p:cTn>
                                        <p:tgtEl>
                                          <p:spTgt spid="26"/>
                                        </p:tgtEl>
                                        <p:attrNameLst>
                                          <p:attrName>style.visibility</p:attrName>
                                        </p:attrNameLst>
                                      </p:cBhvr>
                                      <p:to>
                                        <p:strVal val="hidden"/>
                                      </p:to>
                                    </p:se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grpId="0" nodeType="clickEffect">
                                  <p:stCondLst>
                                    <p:cond delay="0"/>
                                  </p:stCondLst>
                                  <p:childTnLst>
                                    <p:set>
                                      <p:cBhvr>
                                        <p:cTn id="133" dur="1" fill="hold">
                                          <p:stCondLst>
                                            <p:cond delay="0"/>
                                          </p:stCondLst>
                                        </p:cTn>
                                        <p:tgtEl>
                                          <p:spTgt spid="27"/>
                                        </p:tgtEl>
                                        <p:attrNameLst>
                                          <p:attrName>style.visibility</p:attrName>
                                        </p:attrNameLst>
                                      </p:cBhvr>
                                      <p:to>
                                        <p:strVal val="visible"/>
                                      </p:to>
                                    </p:set>
                                    <p:animEffect transition="in" filter="fade">
                                      <p:cBhvr>
                                        <p:cTn id="134" dur="500"/>
                                        <p:tgtEl>
                                          <p:spTgt spid="27"/>
                                        </p:tgtEl>
                                      </p:cBhvr>
                                    </p:animEffect>
                                  </p:childTnLst>
                                </p:cTn>
                              </p:par>
                              <p:par>
                                <p:cTn id="135" presetID="22" presetClass="entr" presetSubtype="1" fill="hold" grpId="0" nodeType="withEffect">
                                  <p:stCondLst>
                                    <p:cond delay="0"/>
                                  </p:stCondLst>
                                  <p:childTnLst>
                                    <p:set>
                                      <p:cBhvr>
                                        <p:cTn id="136" dur="1" fill="hold">
                                          <p:stCondLst>
                                            <p:cond delay="0"/>
                                          </p:stCondLst>
                                        </p:cTn>
                                        <p:tgtEl>
                                          <p:spTgt spid="30"/>
                                        </p:tgtEl>
                                        <p:attrNameLst>
                                          <p:attrName>style.visibility</p:attrName>
                                        </p:attrNameLst>
                                      </p:cBhvr>
                                      <p:to>
                                        <p:strVal val="visible"/>
                                      </p:to>
                                    </p:set>
                                    <p:animEffect transition="in" filter="wipe(up)">
                                      <p:cBhvr>
                                        <p:cTn id="137" dur="500"/>
                                        <p:tgtEl>
                                          <p:spTgt spid="30"/>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xit" presetSubtype="0" fill="hold" grpId="1" nodeType="clickEffect">
                                  <p:stCondLst>
                                    <p:cond delay="0"/>
                                  </p:stCondLst>
                                  <p:childTnLst>
                                    <p:animEffect transition="out" filter="fade">
                                      <p:cBhvr>
                                        <p:cTn id="141" dur="500"/>
                                        <p:tgtEl>
                                          <p:spTgt spid="27"/>
                                        </p:tgtEl>
                                      </p:cBhvr>
                                    </p:animEffect>
                                    <p:set>
                                      <p:cBhvr>
                                        <p:cTn id="142" dur="1" fill="hold">
                                          <p:stCondLst>
                                            <p:cond delay="499"/>
                                          </p:stCondLst>
                                        </p:cTn>
                                        <p:tgtEl>
                                          <p:spTgt spid="27"/>
                                        </p:tgtEl>
                                        <p:attrNameLst>
                                          <p:attrName>style.visibility</p:attrName>
                                        </p:attrNameLst>
                                      </p:cBhvr>
                                      <p:to>
                                        <p:strVal val="hidden"/>
                                      </p:to>
                                    </p:set>
                                  </p:childTnLst>
                                </p:cTn>
                              </p:par>
                            </p:childTnLst>
                          </p:cTn>
                        </p:par>
                      </p:childTnLst>
                    </p:cTn>
                  </p:par>
                  <p:par>
                    <p:cTn id="143" fill="hold">
                      <p:stCondLst>
                        <p:cond delay="indefinite"/>
                      </p:stCondLst>
                      <p:childTnLst>
                        <p:par>
                          <p:cTn id="144" fill="hold">
                            <p:stCondLst>
                              <p:cond delay="0"/>
                            </p:stCondLst>
                            <p:childTnLst>
                              <p:par>
                                <p:cTn id="145" presetID="16" presetClass="entr" presetSubtype="21" fill="hold" grpId="0" nodeType="clickEffect">
                                  <p:stCondLst>
                                    <p:cond delay="0"/>
                                  </p:stCondLst>
                                  <p:childTnLst>
                                    <p:set>
                                      <p:cBhvr>
                                        <p:cTn id="146" dur="1" fill="hold">
                                          <p:stCondLst>
                                            <p:cond delay="0"/>
                                          </p:stCondLst>
                                        </p:cTn>
                                        <p:tgtEl>
                                          <p:spTgt spid="29"/>
                                        </p:tgtEl>
                                        <p:attrNameLst>
                                          <p:attrName>style.visibility</p:attrName>
                                        </p:attrNameLst>
                                      </p:cBhvr>
                                      <p:to>
                                        <p:strVal val="visible"/>
                                      </p:to>
                                    </p:set>
                                    <p:animEffect transition="in" filter="barn(inVertical)">
                                      <p:cBhvr>
                                        <p:cTn id="147" dur="500"/>
                                        <p:tgtEl>
                                          <p:spTgt spid="29"/>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32"/>
                                        </p:tgtEl>
                                        <p:attrNameLst>
                                          <p:attrName>style.visibility</p:attrName>
                                        </p:attrNameLst>
                                      </p:cBhvr>
                                      <p:to>
                                        <p:strVal val="visible"/>
                                      </p:to>
                                    </p:set>
                                    <p:animEffect transition="in" filter="fade">
                                      <p:cBhvr>
                                        <p:cTn id="150" dur="500"/>
                                        <p:tgtEl>
                                          <p:spTgt spid="32"/>
                                        </p:tgtEl>
                                      </p:cBhvr>
                                    </p:animEffect>
                                  </p:childTnLst>
                                </p:cTn>
                              </p:par>
                            </p:childTnLst>
                          </p:cTn>
                        </p:par>
                      </p:childTnLst>
                    </p:cTn>
                  </p:par>
                  <p:par>
                    <p:cTn id="151" fill="hold">
                      <p:stCondLst>
                        <p:cond delay="indefinite"/>
                      </p:stCondLst>
                      <p:childTnLst>
                        <p:par>
                          <p:cTn id="152" fill="hold">
                            <p:stCondLst>
                              <p:cond delay="0"/>
                            </p:stCondLst>
                            <p:childTnLst>
                              <p:par>
                                <p:cTn id="153" presetID="42" presetClass="exit" presetSubtype="0" fill="hold" grpId="1" nodeType="clickEffect">
                                  <p:stCondLst>
                                    <p:cond delay="0"/>
                                  </p:stCondLst>
                                  <p:childTnLst>
                                    <p:animEffect transition="out" filter="fade">
                                      <p:cBhvr>
                                        <p:cTn id="154" dur="1000"/>
                                        <p:tgtEl>
                                          <p:spTgt spid="32"/>
                                        </p:tgtEl>
                                      </p:cBhvr>
                                    </p:animEffect>
                                    <p:anim calcmode="lin" valueType="num">
                                      <p:cBhvr>
                                        <p:cTn id="155" dur="1000"/>
                                        <p:tgtEl>
                                          <p:spTgt spid="32"/>
                                        </p:tgtEl>
                                        <p:attrNameLst>
                                          <p:attrName>ppt_x</p:attrName>
                                        </p:attrNameLst>
                                      </p:cBhvr>
                                      <p:tavLst>
                                        <p:tav tm="0">
                                          <p:val>
                                            <p:strVal val="ppt_x"/>
                                          </p:val>
                                        </p:tav>
                                        <p:tav tm="100000">
                                          <p:val>
                                            <p:strVal val="ppt_x"/>
                                          </p:val>
                                        </p:tav>
                                      </p:tavLst>
                                    </p:anim>
                                    <p:anim calcmode="lin" valueType="num">
                                      <p:cBhvr>
                                        <p:cTn id="156" dur="1000"/>
                                        <p:tgtEl>
                                          <p:spTgt spid="32"/>
                                        </p:tgtEl>
                                        <p:attrNameLst>
                                          <p:attrName>ppt_y</p:attrName>
                                        </p:attrNameLst>
                                      </p:cBhvr>
                                      <p:tavLst>
                                        <p:tav tm="0">
                                          <p:val>
                                            <p:strVal val="ppt_y"/>
                                          </p:val>
                                        </p:tav>
                                        <p:tav tm="100000">
                                          <p:val>
                                            <p:strVal val="ppt_y+.1"/>
                                          </p:val>
                                        </p:tav>
                                      </p:tavLst>
                                    </p:anim>
                                    <p:set>
                                      <p:cBhvr>
                                        <p:cTn id="157" dur="1" fill="hold">
                                          <p:stCondLst>
                                            <p:cond delay="999"/>
                                          </p:stCondLst>
                                        </p:cTn>
                                        <p:tgtEl>
                                          <p:spTgt spid="32"/>
                                        </p:tgtEl>
                                        <p:attrNameLst>
                                          <p:attrName>style.visibility</p:attrName>
                                        </p:attrNameLst>
                                      </p:cBhvr>
                                      <p:to>
                                        <p:strVal val="hidden"/>
                                      </p:to>
                                    </p:set>
                                  </p:childTnLst>
                                </p:cTn>
                              </p:par>
                            </p:childTnLst>
                          </p:cTn>
                        </p:par>
                      </p:childTnLst>
                    </p:cTn>
                  </p:par>
                  <p:par>
                    <p:cTn id="158" fill="hold">
                      <p:stCondLst>
                        <p:cond delay="indefinite"/>
                      </p:stCondLst>
                      <p:childTnLst>
                        <p:par>
                          <p:cTn id="159" fill="hold">
                            <p:stCondLst>
                              <p:cond delay="0"/>
                            </p:stCondLst>
                            <p:childTnLst>
                              <p:par>
                                <p:cTn id="160" presetID="53" presetClass="entr" presetSubtype="16" fill="hold" grpId="0" nodeType="clickEffect">
                                  <p:stCondLst>
                                    <p:cond delay="0"/>
                                  </p:stCondLst>
                                  <p:childTnLst>
                                    <p:set>
                                      <p:cBhvr>
                                        <p:cTn id="161" dur="1" fill="hold">
                                          <p:stCondLst>
                                            <p:cond delay="0"/>
                                          </p:stCondLst>
                                        </p:cTn>
                                        <p:tgtEl>
                                          <p:spTgt spid="33"/>
                                        </p:tgtEl>
                                        <p:attrNameLst>
                                          <p:attrName>style.visibility</p:attrName>
                                        </p:attrNameLst>
                                      </p:cBhvr>
                                      <p:to>
                                        <p:strVal val="visible"/>
                                      </p:to>
                                    </p:set>
                                    <p:anim calcmode="lin" valueType="num">
                                      <p:cBhvr>
                                        <p:cTn id="162" dur="500" fill="hold"/>
                                        <p:tgtEl>
                                          <p:spTgt spid="33"/>
                                        </p:tgtEl>
                                        <p:attrNameLst>
                                          <p:attrName>ppt_w</p:attrName>
                                        </p:attrNameLst>
                                      </p:cBhvr>
                                      <p:tavLst>
                                        <p:tav tm="0">
                                          <p:val>
                                            <p:fltVal val="0"/>
                                          </p:val>
                                        </p:tav>
                                        <p:tav tm="100000">
                                          <p:val>
                                            <p:strVal val="#ppt_w"/>
                                          </p:val>
                                        </p:tav>
                                      </p:tavLst>
                                    </p:anim>
                                    <p:anim calcmode="lin" valueType="num">
                                      <p:cBhvr>
                                        <p:cTn id="163" dur="500" fill="hold"/>
                                        <p:tgtEl>
                                          <p:spTgt spid="33"/>
                                        </p:tgtEl>
                                        <p:attrNameLst>
                                          <p:attrName>ppt_h</p:attrName>
                                        </p:attrNameLst>
                                      </p:cBhvr>
                                      <p:tavLst>
                                        <p:tav tm="0">
                                          <p:val>
                                            <p:fltVal val="0"/>
                                          </p:val>
                                        </p:tav>
                                        <p:tav tm="100000">
                                          <p:val>
                                            <p:strVal val="#ppt_h"/>
                                          </p:val>
                                        </p:tav>
                                      </p:tavLst>
                                    </p:anim>
                                    <p:animEffect transition="in" filter="fade">
                                      <p:cBhvr>
                                        <p:cTn id="16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8" grpId="0" animBg="1"/>
      <p:bldP spid="9" grpId="0" animBg="1"/>
      <p:bldP spid="9" grpId="1" animBg="1"/>
      <p:bldP spid="10" grpId="0" animBg="1"/>
      <p:bldP spid="10" grpId="1" animBg="1"/>
      <p:bldP spid="16" grpId="0" animBg="1"/>
      <p:bldP spid="17" grpId="0" animBg="1"/>
      <p:bldP spid="17" grpId="1" animBg="1"/>
      <p:bldP spid="18" grpId="0"/>
      <p:bldP spid="18" grpId="1"/>
      <p:bldP spid="21" grpId="0" animBg="1"/>
      <p:bldP spid="22" grpId="0"/>
      <p:bldP spid="22" grpId="1"/>
      <p:bldP spid="23" grpId="0"/>
      <p:bldP spid="23" grpId="1"/>
      <p:bldP spid="24" grpId="0" animBg="1"/>
      <p:bldP spid="24" grpId="1" animBg="1"/>
      <p:bldP spid="25" grpId="0" animBg="1"/>
      <p:bldP spid="26" grpId="0" animBg="1"/>
      <p:bldP spid="26" grpId="1" animBg="1"/>
      <p:bldP spid="27" grpId="0" animBg="1"/>
      <p:bldP spid="27" grpId="1" animBg="1"/>
      <p:bldP spid="28" grpId="0" animBg="1"/>
      <p:bldP spid="29" grpId="0" animBg="1"/>
      <p:bldP spid="30" grpId="0" animBg="1"/>
      <p:bldP spid="31" grpId="0" animBg="1"/>
      <p:bldP spid="32" grpId="0" animBg="1"/>
      <p:bldP spid="32" grpId="1" animBg="1"/>
      <p:bldP spid="3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BEBA8EAE-BF5A-486C-A8C5-ECC9F3942E4B}">
                <a14:imgProps xmlns:a14="http://schemas.microsoft.com/office/drawing/2010/main">
                  <a14:imgLayer r:embed="rId3">
                    <a14:imgEffect>
                      <a14:artisticMarker/>
                    </a14:imgEffect>
                    <a14:imgEffect>
                      <a14:colorTemperature colorTemp="4700"/>
                    </a14:imgEffect>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Rectangle 2"/>
          <p:cNvSpPr txBox="1">
            <a:spLocks noChangeArrowheads="1"/>
          </p:cNvSpPr>
          <p:nvPr/>
        </p:nvSpPr>
        <p:spPr bwMode="auto">
          <a:xfrm>
            <a:off x="381000" y="304800"/>
            <a:ext cx="6705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800" dirty="0">
                <a:solidFill>
                  <a:schemeClr val="bg1"/>
                </a:solidFill>
                <a:latin typeface="Roboto" panose="02000000000000000000" pitchFamily="2" charset="0"/>
                <a:ea typeface="Roboto" panose="02000000000000000000" pitchFamily="2" charset="0"/>
                <a:cs typeface="Roboto" panose="02000000000000000000" pitchFamily="2" charset="0"/>
              </a:rPr>
              <a:t>TBNet Successes</a:t>
            </a:r>
          </a:p>
        </p:txBody>
      </p:sp>
    </p:spTree>
    <p:extLst>
      <p:ext uri="{BB962C8B-B14F-4D97-AF65-F5344CB8AC3E}">
        <p14:creationId xmlns:p14="http://schemas.microsoft.com/office/powerpoint/2010/main" val="174473563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icons.iconarchive.com/icons/icons-land/vista-map-markers/256/Map-Marker-Ball-Right-Azure-icon.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5919" y="1676398"/>
            <a:ext cx="2181225" cy="218122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3"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rot="19688238">
            <a:off x="5627627" y="1074405"/>
            <a:ext cx="2994267" cy="3671871"/>
          </a:xfrm>
          <a:prstGeom prst="rect">
            <a:avLst/>
          </a:prstGeom>
        </p:spPr>
      </p:pic>
      <p:pic>
        <p:nvPicPr>
          <p:cNvPr id="5" name="Picture 4"/>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469227" y="1943100"/>
            <a:ext cx="2971800" cy="2971800"/>
          </a:xfrm>
          <a:prstGeom prst="rect">
            <a:avLst/>
          </a:prstGeom>
        </p:spPr>
      </p:pic>
      <p:sp>
        <p:nvSpPr>
          <p:cNvPr id="6" name="TextBox 5"/>
          <p:cNvSpPr txBox="1"/>
          <p:nvPr/>
        </p:nvSpPr>
        <p:spPr>
          <a:xfrm>
            <a:off x="98070" y="4642404"/>
            <a:ext cx="3804248" cy="954107"/>
          </a:xfrm>
          <a:prstGeom prst="rect">
            <a:avLst/>
          </a:prstGeom>
          <a:noFill/>
        </p:spPr>
        <p:txBody>
          <a:bodyPr wrap="none" rtlCol="0">
            <a:spAutoFit/>
          </a:bodyPr>
          <a:lstStyle/>
          <a:p>
            <a:pPr algn="ctr"/>
            <a:r>
              <a:rPr lang="en-US" sz="2800" dirty="0" smtClean="0">
                <a:latin typeface="Roboto" panose="02000000000000000000" pitchFamily="2" charset="0"/>
                <a:ea typeface="Roboto" panose="02000000000000000000" pitchFamily="2" charset="0"/>
                <a:cs typeface="Roboto" panose="02000000000000000000" pitchFamily="2" charset="0"/>
              </a:rPr>
              <a:t>Geographically Stable </a:t>
            </a:r>
            <a:br>
              <a:rPr lang="en-US" sz="2800" dirty="0" smtClean="0">
                <a:latin typeface="Roboto" panose="02000000000000000000" pitchFamily="2" charset="0"/>
                <a:ea typeface="Roboto" panose="02000000000000000000" pitchFamily="2" charset="0"/>
                <a:cs typeface="Roboto" panose="02000000000000000000" pitchFamily="2" charset="0"/>
              </a:rPr>
            </a:br>
            <a:r>
              <a:rPr lang="en-US" sz="2800" dirty="0" smtClean="0">
                <a:latin typeface="Roboto" panose="02000000000000000000" pitchFamily="2" charset="0"/>
                <a:ea typeface="Roboto" panose="02000000000000000000" pitchFamily="2" charset="0"/>
                <a:cs typeface="Roboto" panose="02000000000000000000" pitchFamily="2" charset="0"/>
              </a:rPr>
              <a:t>Patients</a:t>
            </a:r>
            <a:endParaRPr lang="en-US" sz="2800" dirty="0">
              <a:latin typeface="Roboto" panose="02000000000000000000" pitchFamily="2" charset="0"/>
              <a:ea typeface="Roboto" panose="02000000000000000000" pitchFamily="2" charset="0"/>
              <a:cs typeface="Roboto" panose="02000000000000000000" pitchFamily="2" charset="0"/>
            </a:endParaRPr>
          </a:p>
        </p:txBody>
      </p:sp>
      <p:sp>
        <p:nvSpPr>
          <p:cNvPr id="10" name="TextBox 9"/>
          <p:cNvSpPr txBox="1"/>
          <p:nvPr/>
        </p:nvSpPr>
        <p:spPr>
          <a:xfrm>
            <a:off x="5911347" y="4647847"/>
            <a:ext cx="2675732" cy="523220"/>
          </a:xfrm>
          <a:prstGeom prst="rect">
            <a:avLst/>
          </a:prstGeom>
          <a:noFill/>
        </p:spPr>
        <p:txBody>
          <a:bodyPr wrap="none" rtlCol="0">
            <a:spAutoFit/>
          </a:bodyPr>
          <a:lstStyle/>
          <a:p>
            <a:r>
              <a:rPr lang="en-US" sz="2800" dirty="0" smtClean="0">
                <a:latin typeface="Roboto" panose="02000000000000000000" pitchFamily="2" charset="0"/>
                <a:ea typeface="Roboto" panose="02000000000000000000" pitchFamily="2" charset="0"/>
                <a:cs typeface="Roboto" panose="02000000000000000000" pitchFamily="2" charset="0"/>
              </a:rPr>
              <a:t>Mobile Patients</a:t>
            </a:r>
            <a:endParaRPr lang="en-US" sz="2800" dirty="0">
              <a:latin typeface="Roboto" panose="02000000000000000000" pitchFamily="2" charset="0"/>
              <a:ea typeface="Roboto" panose="02000000000000000000" pitchFamily="2" charset="0"/>
              <a:cs typeface="Roboto" panose="02000000000000000000" pitchFamily="2" charset="0"/>
            </a:endParaRPr>
          </a:p>
        </p:txBody>
      </p:sp>
      <p:sp>
        <p:nvSpPr>
          <p:cNvPr id="8" name="TextBox 7"/>
          <p:cNvSpPr txBox="1"/>
          <p:nvPr/>
        </p:nvSpPr>
        <p:spPr>
          <a:xfrm>
            <a:off x="3335627" y="1011646"/>
            <a:ext cx="2133600" cy="3939540"/>
          </a:xfrm>
          <a:prstGeom prst="rect">
            <a:avLst/>
          </a:prstGeom>
          <a:noFill/>
        </p:spPr>
        <p:txBody>
          <a:bodyPr wrap="square" rtlCol="0">
            <a:spAutoFit/>
          </a:bodyPr>
          <a:lstStyle/>
          <a:p>
            <a:r>
              <a:rPr lang="en-US" sz="25000" dirty="0" smtClean="0">
                <a:solidFill>
                  <a:schemeClr val="bg1">
                    <a:lumMod val="75000"/>
                  </a:schemeClr>
                </a:solidFill>
              </a:rPr>
              <a:t>=</a:t>
            </a:r>
            <a:endParaRPr lang="en-US" sz="25000" dirty="0">
              <a:solidFill>
                <a:schemeClr val="bg1">
                  <a:lumMod val="75000"/>
                </a:schemeClr>
              </a:solidFill>
            </a:endParaRPr>
          </a:p>
        </p:txBody>
      </p:sp>
      <p:pic>
        <p:nvPicPr>
          <p:cNvPr id="3" name="Picture 2"/>
          <p:cNvPicPr>
            <a:picLocks noChangeAspect="1"/>
          </p:cNvPicPr>
          <p:nvPr/>
        </p:nvPicPr>
        <p:blipFill rotWithShape="1">
          <a:blip r:embed="rId5" cstate="email">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rot="7084329">
            <a:off x="4951900" y="1677682"/>
            <a:ext cx="3429000" cy="909962"/>
          </a:xfrm>
          <a:prstGeom prst="rect">
            <a:avLst/>
          </a:prstGeom>
        </p:spPr>
      </p:pic>
    </p:spTree>
    <p:extLst>
      <p:ext uri="{BB962C8B-B14F-4D97-AF65-F5344CB8AC3E}">
        <p14:creationId xmlns:p14="http://schemas.microsoft.com/office/powerpoint/2010/main" val="273145296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381000"/>
            <a:ext cx="4876656" cy="2123658"/>
          </a:xfrm>
          <a:prstGeom prst="rect">
            <a:avLst/>
          </a:prstGeom>
        </p:spPr>
        <p:txBody>
          <a:bodyPr wrap="none">
            <a:spAutoFit/>
          </a:bodyPr>
          <a:lstStyle/>
          <a:p>
            <a:r>
              <a:rPr lang="en-US" altLang="en-US" sz="6600" dirty="0">
                <a:latin typeface="Roboto" panose="02000000000000000000" pitchFamily="2" charset="0"/>
                <a:ea typeface="Roboto" panose="02000000000000000000" pitchFamily="2" charset="0"/>
                <a:cs typeface="Roboto" panose="02000000000000000000" pitchFamily="2" charset="0"/>
              </a:rPr>
              <a:t>Disease </a:t>
            </a:r>
            <a:r>
              <a:rPr lang="en-US" altLang="en-US" sz="6600" dirty="0" smtClean="0">
                <a:latin typeface="Roboto" panose="02000000000000000000" pitchFamily="2" charset="0"/>
                <a:ea typeface="Roboto" panose="02000000000000000000" pitchFamily="2" charset="0"/>
                <a:cs typeface="Roboto" panose="02000000000000000000" pitchFamily="2" charset="0"/>
              </a:rPr>
              <a:t/>
            </a:r>
            <a:br>
              <a:rPr lang="en-US" altLang="en-US" sz="6600" dirty="0" smtClean="0">
                <a:latin typeface="Roboto" panose="02000000000000000000" pitchFamily="2" charset="0"/>
                <a:ea typeface="Roboto" panose="02000000000000000000" pitchFamily="2" charset="0"/>
                <a:cs typeface="Roboto" panose="02000000000000000000" pitchFamily="2" charset="0"/>
              </a:rPr>
            </a:br>
            <a:r>
              <a:rPr lang="en-US" altLang="en-US" sz="6600" dirty="0" smtClean="0">
                <a:latin typeface="Roboto" panose="02000000000000000000" pitchFamily="2" charset="0"/>
                <a:ea typeface="Roboto" panose="02000000000000000000" pitchFamily="2" charset="0"/>
                <a:cs typeface="Roboto" panose="02000000000000000000" pitchFamily="2" charset="0"/>
              </a:rPr>
              <a:t>surveillance </a:t>
            </a:r>
            <a:endParaRPr lang="en-US" sz="6600" dirty="0">
              <a:latin typeface="Roboto" panose="02000000000000000000" pitchFamily="2" charset="0"/>
              <a:ea typeface="Roboto" panose="02000000000000000000" pitchFamily="2" charset="0"/>
              <a:cs typeface="Roboto" panose="02000000000000000000" pitchFamily="2" charset="0"/>
            </a:endParaRPr>
          </a:p>
        </p:txBody>
      </p:sp>
      <p:pic>
        <p:nvPicPr>
          <p:cNvPr id="614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00400" y="2667000"/>
            <a:ext cx="5671269" cy="3777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6061089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7012"/>
            <a:ext cx="9144000" cy="6843975"/>
          </a:xfrm>
          <a:prstGeom prst="rect">
            <a:avLst/>
          </a:prstGeom>
        </p:spPr>
      </p:pic>
      <p:sp>
        <p:nvSpPr>
          <p:cNvPr id="3" name="Rectangle 2"/>
          <p:cNvSpPr/>
          <p:nvPr/>
        </p:nvSpPr>
        <p:spPr>
          <a:xfrm>
            <a:off x="152400" y="457200"/>
            <a:ext cx="3062514" cy="2308324"/>
          </a:xfrm>
          <a:prstGeom prst="rect">
            <a:avLst/>
          </a:prstGeom>
          <a:solidFill>
            <a:schemeClr val="bg1">
              <a:lumMod val="50000"/>
            </a:schemeClr>
          </a:solidFill>
          <a:effectLst>
            <a:outerShdw blurRad="50800" dist="38100" dir="5400000" algn="t" rotWithShape="0">
              <a:prstClr val="black">
                <a:alpha val="40000"/>
              </a:prstClr>
            </a:outerShdw>
          </a:effectLst>
        </p:spPr>
        <p:txBody>
          <a:bodyPr wrap="square">
            <a:spAutoFit/>
          </a:bodyPr>
          <a:lstStyle/>
          <a:p>
            <a:pPr algn="ctr">
              <a:lnSpc>
                <a:spcPct val="90000"/>
              </a:lnSpc>
            </a:pPr>
            <a:r>
              <a:rPr lang="en-US" altLang="en-US" sz="4000" dirty="0">
                <a:solidFill>
                  <a:schemeClr val="bg1"/>
                </a:solidFill>
                <a:latin typeface="Roboto" panose="02000000000000000000" pitchFamily="2" charset="0"/>
                <a:ea typeface="Roboto" panose="02000000000000000000" pitchFamily="2" charset="0"/>
                <a:cs typeface="Roboto" panose="02000000000000000000" pitchFamily="2" charset="0"/>
              </a:rPr>
              <a:t>Consistency between international  protocols</a:t>
            </a:r>
          </a:p>
        </p:txBody>
      </p:sp>
    </p:spTree>
    <p:extLst>
      <p:ext uri="{BB962C8B-B14F-4D97-AF65-F5344CB8AC3E}">
        <p14:creationId xmlns:p14="http://schemas.microsoft.com/office/powerpoint/2010/main" val="27248419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descr="Data"/>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a:xfrm>
            <a:off x="3505200" y="609600"/>
            <a:ext cx="5156200" cy="5638800"/>
          </a:xfrm>
          <a:prstGeom prst="rect">
            <a:avLst/>
          </a:prstGeom>
        </p:spPr>
      </p:pic>
      <p:sp>
        <p:nvSpPr>
          <p:cNvPr id="3" name="TextBox 2"/>
          <p:cNvSpPr txBox="1"/>
          <p:nvPr/>
        </p:nvSpPr>
        <p:spPr>
          <a:xfrm>
            <a:off x="457200" y="1219200"/>
            <a:ext cx="2590800" cy="2862322"/>
          </a:xfrm>
          <a:prstGeom prst="rect">
            <a:avLst/>
          </a:prstGeom>
          <a:noFill/>
        </p:spPr>
        <p:txBody>
          <a:bodyPr wrap="square" rtlCol="0">
            <a:spAutoFit/>
          </a:bodyPr>
          <a:lstStyle/>
          <a:p>
            <a:r>
              <a:rPr lang="en-US" sz="6000" dirty="0" smtClean="0"/>
              <a:t>Beware of data….</a:t>
            </a:r>
            <a:endParaRPr lang="en-US" sz="6000" dirty="0"/>
          </a:p>
        </p:txBody>
      </p:sp>
    </p:spTree>
    <p:extLst>
      <p:ext uri="{BB962C8B-B14F-4D97-AF65-F5344CB8AC3E}">
        <p14:creationId xmlns:p14="http://schemas.microsoft.com/office/powerpoint/2010/main" val="1176369959"/>
      </p:ext>
    </p:extLst>
  </p:cSld>
  <p:clrMapOvr>
    <a:masterClrMapping/>
  </p:clrMapOvr>
  <mc:AlternateContent xmlns:mc="http://schemas.openxmlformats.org/markup-compatibility/2006" xmlns:p14="http://schemas.microsoft.com/office/powerpoint/2010/main">
    <mc:Choice Requires="p14">
      <p:transition spd="slow" p14:dur="2000" advTm="572"/>
    </mc:Choice>
    <mc:Fallback xmlns="">
      <p:transition spd="slow" advTm="572"/>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43" name="Group 10"/>
          <p:cNvGrpSpPr>
            <a:grpSpLocks/>
          </p:cNvGrpSpPr>
          <p:nvPr/>
        </p:nvGrpSpPr>
        <p:grpSpPr bwMode="auto">
          <a:xfrm>
            <a:off x="36250" y="236537"/>
            <a:ext cx="8943975" cy="4838700"/>
            <a:chOff x="0" y="723"/>
            <a:chExt cx="5634" cy="3048"/>
          </a:xfrm>
        </p:grpSpPr>
        <p:sp>
          <p:nvSpPr>
            <p:cNvPr id="10244" name="Freeform 6"/>
            <p:cNvSpPr>
              <a:spLocks noChangeAspect="1" noEditPoints="1"/>
            </p:cNvSpPr>
            <p:nvPr/>
          </p:nvSpPr>
          <p:spPr bwMode="auto">
            <a:xfrm>
              <a:off x="2433" y="723"/>
              <a:ext cx="3201" cy="2883"/>
            </a:xfrm>
            <a:custGeom>
              <a:avLst/>
              <a:gdLst>
                <a:gd name="T0" fmla="*/ 3199 w 3062"/>
                <a:gd name="T1" fmla="*/ 2916 h 2758"/>
                <a:gd name="T2" fmla="*/ 3131 w 3062"/>
                <a:gd name="T3" fmla="*/ 2781 h 2758"/>
                <a:gd name="T4" fmla="*/ 3250 w 3062"/>
                <a:gd name="T5" fmla="*/ 2698 h 2758"/>
                <a:gd name="T6" fmla="*/ 3210 w 3062"/>
                <a:gd name="T7" fmla="*/ 2568 h 2758"/>
                <a:gd name="T8" fmla="*/ 4355 w 3062"/>
                <a:gd name="T9" fmla="*/ 629 h 2758"/>
                <a:gd name="T10" fmla="*/ 3688 w 3062"/>
                <a:gd name="T11" fmla="*/ 428 h 2758"/>
                <a:gd name="T12" fmla="*/ 3304 w 3062"/>
                <a:gd name="T13" fmla="*/ 358 h 2758"/>
                <a:gd name="T14" fmla="*/ 2996 w 3062"/>
                <a:gd name="T15" fmla="*/ 215 h 2758"/>
                <a:gd name="T16" fmla="*/ 2209 w 3062"/>
                <a:gd name="T17" fmla="*/ 448 h 2758"/>
                <a:gd name="T18" fmla="*/ 1961 w 3062"/>
                <a:gd name="T19" fmla="*/ 652 h 2758"/>
                <a:gd name="T20" fmla="*/ 1449 w 3062"/>
                <a:gd name="T21" fmla="*/ 783 h 2758"/>
                <a:gd name="T22" fmla="*/ 1257 w 3062"/>
                <a:gd name="T23" fmla="*/ 942 h 2758"/>
                <a:gd name="T24" fmla="*/ 1159 w 3062"/>
                <a:gd name="T25" fmla="*/ 629 h 2758"/>
                <a:gd name="T26" fmla="*/ 749 w 3062"/>
                <a:gd name="T27" fmla="*/ 721 h 2758"/>
                <a:gd name="T28" fmla="*/ 659 w 3062"/>
                <a:gd name="T29" fmla="*/ 1185 h 2758"/>
                <a:gd name="T30" fmla="*/ 799 w 3062"/>
                <a:gd name="T31" fmla="*/ 1111 h 2758"/>
                <a:gd name="T32" fmla="*/ 1050 w 3062"/>
                <a:gd name="T33" fmla="*/ 1140 h 2758"/>
                <a:gd name="T34" fmla="*/ 769 w 3062"/>
                <a:gd name="T35" fmla="*/ 1398 h 2758"/>
                <a:gd name="T36" fmla="*/ 602 w 3062"/>
                <a:gd name="T37" fmla="*/ 1405 h 2758"/>
                <a:gd name="T38" fmla="*/ 337 w 3062"/>
                <a:gd name="T39" fmla="*/ 1647 h 2758"/>
                <a:gd name="T40" fmla="*/ 244 w 3062"/>
                <a:gd name="T41" fmla="*/ 1970 h 2758"/>
                <a:gd name="T42" fmla="*/ 757 w 3062"/>
                <a:gd name="T43" fmla="*/ 1960 h 2758"/>
                <a:gd name="T44" fmla="*/ 850 w 3062"/>
                <a:gd name="T45" fmla="*/ 1876 h 2758"/>
                <a:gd name="T46" fmla="*/ 1114 w 3062"/>
                <a:gd name="T47" fmla="*/ 1982 h 2758"/>
                <a:gd name="T48" fmla="*/ 796 w 3062"/>
                <a:gd name="T49" fmla="*/ 2138 h 2758"/>
                <a:gd name="T50" fmla="*/ 283 w 3062"/>
                <a:gd name="T51" fmla="*/ 2017 h 2758"/>
                <a:gd name="T52" fmla="*/ 48 w 3062"/>
                <a:gd name="T53" fmla="*/ 2642 h 2758"/>
                <a:gd name="T54" fmla="*/ 583 w 3062"/>
                <a:gd name="T55" fmla="*/ 2798 h 2758"/>
                <a:gd name="T56" fmla="*/ 721 w 3062"/>
                <a:gd name="T57" fmla="*/ 3430 h 2758"/>
                <a:gd name="T58" fmla="*/ 1249 w 3062"/>
                <a:gd name="T59" fmla="*/ 3321 h 2758"/>
                <a:gd name="T60" fmla="*/ 1571 w 3062"/>
                <a:gd name="T61" fmla="*/ 2638 h 2758"/>
                <a:gd name="T62" fmla="*/ 1341 w 3062"/>
                <a:gd name="T63" fmla="*/ 2440 h 2758"/>
                <a:gd name="T64" fmla="*/ 1578 w 3062"/>
                <a:gd name="T65" fmla="*/ 2287 h 2758"/>
                <a:gd name="T66" fmla="*/ 2068 w 3062"/>
                <a:gd name="T67" fmla="*/ 2380 h 2758"/>
                <a:gd name="T68" fmla="*/ 2577 w 3062"/>
                <a:gd name="T69" fmla="*/ 2498 h 2758"/>
                <a:gd name="T70" fmla="*/ 2758 w 3062"/>
                <a:gd name="T71" fmla="*/ 2597 h 2758"/>
                <a:gd name="T72" fmla="*/ 3098 w 3062"/>
                <a:gd name="T73" fmla="*/ 2339 h 2758"/>
                <a:gd name="T74" fmla="*/ 3218 w 3062"/>
                <a:gd name="T75" fmla="*/ 1876 h 2758"/>
                <a:gd name="T76" fmla="*/ 3450 w 3062"/>
                <a:gd name="T77" fmla="*/ 1815 h 2758"/>
                <a:gd name="T78" fmla="*/ 3843 w 3062"/>
                <a:gd name="T79" fmla="*/ 1185 h 2758"/>
                <a:gd name="T80" fmla="*/ 4028 w 3062"/>
                <a:gd name="T81" fmla="*/ 1271 h 2758"/>
                <a:gd name="T82" fmla="*/ 4336 w 3062"/>
                <a:gd name="T83" fmla="*/ 1174 h 2758"/>
                <a:gd name="T84" fmla="*/ 1289 w 3062"/>
                <a:gd name="T85" fmla="*/ 1853 h 2758"/>
                <a:gd name="T86" fmla="*/ 1295 w 3062"/>
                <a:gd name="T87" fmla="*/ 1737 h 2758"/>
                <a:gd name="T88" fmla="*/ 1461 w 3062"/>
                <a:gd name="T89" fmla="*/ 1872 h 2758"/>
                <a:gd name="T90" fmla="*/ 1702 w 3062"/>
                <a:gd name="T91" fmla="*/ 391 h 2758"/>
                <a:gd name="T92" fmla="*/ 1613 w 3062"/>
                <a:gd name="T93" fmla="*/ 375 h 2758"/>
                <a:gd name="T94" fmla="*/ 178 w 3062"/>
                <a:gd name="T95" fmla="*/ 1468 h 2758"/>
                <a:gd name="T96" fmla="*/ 2703 w 3062"/>
                <a:gd name="T97" fmla="*/ 2894 h 2758"/>
                <a:gd name="T98" fmla="*/ 1536 w 3062"/>
                <a:gd name="T99" fmla="*/ 3189 h 2758"/>
                <a:gd name="T100" fmla="*/ 309 w 3062"/>
                <a:gd name="T101" fmla="*/ 1546 h 2758"/>
                <a:gd name="T102" fmla="*/ 307 w 3062"/>
                <a:gd name="T103" fmla="*/ 1254 h 2758"/>
                <a:gd name="T104" fmla="*/ 4445 w 3062"/>
                <a:gd name="T105" fmla="*/ 3933 h 2758"/>
                <a:gd name="T106" fmla="*/ 4294 w 3062"/>
                <a:gd name="T107" fmla="*/ 4108 h 2758"/>
                <a:gd name="T108" fmla="*/ 3444 w 3062"/>
                <a:gd name="T109" fmla="*/ 2076 h 2758"/>
                <a:gd name="T110" fmla="*/ 3629 w 3062"/>
                <a:gd name="T111" fmla="*/ 3082 h 2758"/>
                <a:gd name="T112" fmla="*/ 3458 w 3062"/>
                <a:gd name="T113" fmla="*/ 2901 h 2758"/>
                <a:gd name="T114" fmla="*/ 3554 w 3062"/>
                <a:gd name="T115" fmla="*/ 3186 h 2758"/>
                <a:gd name="T116" fmla="*/ 3061 w 3062"/>
                <a:gd name="T117" fmla="*/ 3647 h 2758"/>
                <a:gd name="T118" fmla="*/ 3794 w 3062"/>
                <a:gd name="T119" fmla="*/ 3861 h 2758"/>
                <a:gd name="T120" fmla="*/ 3690 w 3062"/>
                <a:gd name="T121" fmla="*/ 1421 h 2758"/>
                <a:gd name="T122" fmla="*/ 3709 w 3062"/>
                <a:gd name="T123" fmla="*/ 1826 h 2758"/>
                <a:gd name="T124" fmla="*/ 3590 w 3062"/>
                <a:gd name="T125" fmla="*/ 2026 h 27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062" h="2758">
                  <a:moveTo>
                    <a:pt x="1982" y="1630"/>
                  </a:moveTo>
                  <a:lnTo>
                    <a:pt x="1982" y="1630"/>
                  </a:lnTo>
                  <a:lnTo>
                    <a:pt x="1976" y="1628"/>
                  </a:lnTo>
                  <a:lnTo>
                    <a:pt x="1972" y="1630"/>
                  </a:lnTo>
                  <a:lnTo>
                    <a:pt x="1962" y="1640"/>
                  </a:lnTo>
                  <a:lnTo>
                    <a:pt x="1960" y="1644"/>
                  </a:lnTo>
                  <a:lnTo>
                    <a:pt x="1962" y="1650"/>
                  </a:lnTo>
                  <a:lnTo>
                    <a:pt x="1966" y="1652"/>
                  </a:lnTo>
                  <a:lnTo>
                    <a:pt x="1972" y="1650"/>
                  </a:lnTo>
                  <a:lnTo>
                    <a:pt x="1982" y="1640"/>
                  </a:lnTo>
                  <a:lnTo>
                    <a:pt x="1984" y="1634"/>
                  </a:lnTo>
                  <a:lnTo>
                    <a:pt x="1982" y="1630"/>
                  </a:lnTo>
                  <a:close/>
                  <a:moveTo>
                    <a:pt x="2112" y="1982"/>
                  </a:moveTo>
                  <a:lnTo>
                    <a:pt x="2112" y="1982"/>
                  </a:lnTo>
                  <a:lnTo>
                    <a:pt x="2116" y="1994"/>
                  </a:lnTo>
                  <a:lnTo>
                    <a:pt x="2120" y="2000"/>
                  </a:lnTo>
                  <a:lnTo>
                    <a:pt x="2122" y="2006"/>
                  </a:lnTo>
                  <a:lnTo>
                    <a:pt x="2122" y="2014"/>
                  </a:lnTo>
                  <a:lnTo>
                    <a:pt x="2122" y="2018"/>
                  </a:lnTo>
                  <a:lnTo>
                    <a:pt x="2124" y="2022"/>
                  </a:lnTo>
                  <a:lnTo>
                    <a:pt x="2126" y="2024"/>
                  </a:lnTo>
                  <a:lnTo>
                    <a:pt x="2128" y="2026"/>
                  </a:lnTo>
                  <a:lnTo>
                    <a:pt x="2130" y="2026"/>
                  </a:lnTo>
                  <a:lnTo>
                    <a:pt x="2134" y="2026"/>
                  </a:lnTo>
                  <a:lnTo>
                    <a:pt x="2140" y="2024"/>
                  </a:lnTo>
                  <a:lnTo>
                    <a:pt x="2142" y="2022"/>
                  </a:lnTo>
                  <a:lnTo>
                    <a:pt x="2142" y="2008"/>
                  </a:lnTo>
                  <a:lnTo>
                    <a:pt x="2142" y="1996"/>
                  </a:lnTo>
                  <a:lnTo>
                    <a:pt x="2144" y="1992"/>
                  </a:lnTo>
                  <a:lnTo>
                    <a:pt x="2146" y="1994"/>
                  </a:lnTo>
                  <a:lnTo>
                    <a:pt x="2148" y="2000"/>
                  </a:lnTo>
                  <a:lnTo>
                    <a:pt x="2158" y="2012"/>
                  </a:lnTo>
                  <a:lnTo>
                    <a:pt x="2166" y="2020"/>
                  </a:lnTo>
                  <a:lnTo>
                    <a:pt x="2172" y="2024"/>
                  </a:lnTo>
                  <a:lnTo>
                    <a:pt x="2180" y="2026"/>
                  </a:lnTo>
                  <a:lnTo>
                    <a:pt x="2184" y="2026"/>
                  </a:lnTo>
                  <a:lnTo>
                    <a:pt x="2186" y="2026"/>
                  </a:lnTo>
                  <a:lnTo>
                    <a:pt x="2188" y="2024"/>
                  </a:lnTo>
                  <a:lnTo>
                    <a:pt x="2190" y="2022"/>
                  </a:lnTo>
                  <a:lnTo>
                    <a:pt x="2188" y="2020"/>
                  </a:lnTo>
                  <a:lnTo>
                    <a:pt x="2186" y="2014"/>
                  </a:lnTo>
                  <a:lnTo>
                    <a:pt x="2176" y="2002"/>
                  </a:lnTo>
                  <a:lnTo>
                    <a:pt x="2168" y="1992"/>
                  </a:lnTo>
                  <a:lnTo>
                    <a:pt x="2166" y="1988"/>
                  </a:lnTo>
                  <a:lnTo>
                    <a:pt x="2166" y="1984"/>
                  </a:lnTo>
                  <a:lnTo>
                    <a:pt x="2168" y="1982"/>
                  </a:lnTo>
                  <a:lnTo>
                    <a:pt x="2178" y="1972"/>
                  </a:lnTo>
                  <a:lnTo>
                    <a:pt x="2180" y="1968"/>
                  </a:lnTo>
                  <a:lnTo>
                    <a:pt x="2182" y="1962"/>
                  </a:lnTo>
                  <a:lnTo>
                    <a:pt x="2180" y="1960"/>
                  </a:lnTo>
                  <a:lnTo>
                    <a:pt x="2174" y="1958"/>
                  </a:lnTo>
                  <a:lnTo>
                    <a:pt x="2150" y="1958"/>
                  </a:lnTo>
                  <a:lnTo>
                    <a:pt x="2148" y="1958"/>
                  </a:lnTo>
                  <a:lnTo>
                    <a:pt x="2146" y="1956"/>
                  </a:lnTo>
                  <a:lnTo>
                    <a:pt x="2146" y="1954"/>
                  </a:lnTo>
                  <a:lnTo>
                    <a:pt x="2146" y="1950"/>
                  </a:lnTo>
                  <a:lnTo>
                    <a:pt x="2148" y="1946"/>
                  </a:lnTo>
                  <a:lnTo>
                    <a:pt x="2158" y="1934"/>
                  </a:lnTo>
                  <a:lnTo>
                    <a:pt x="2158" y="1932"/>
                  </a:lnTo>
                  <a:lnTo>
                    <a:pt x="2158" y="1930"/>
                  </a:lnTo>
                  <a:lnTo>
                    <a:pt x="2154" y="1928"/>
                  </a:lnTo>
                  <a:lnTo>
                    <a:pt x="2150" y="1928"/>
                  </a:lnTo>
                  <a:lnTo>
                    <a:pt x="2144" y="1930"/>
                  </a:lnTo>
                  <a:lnTo>
                    <a:pt x="2138" y="1934"/>
                  </a:lnTo>
                  <a:lnTo>
                    <a:pt x="2130" y="1946"/>
                  </a:lnTo>
                  <a:lnTo>
                    <a:pt x="2116" y="1970"/>
                  </a:lnTo>
                  <a:lnTo>
                    <a:pt x="2112" y="1982"/>
                  </a:lnTo>
                  <a:close/>
                  <a:moveTo>
                    <a:pt x="1966" y="1940"/>
                  </a:moveTo>
                  <a:lnTo>
                    <a:pt x="1966" y="1940"/>
                  </a:lnTo>
                  <a:lnTo>
                    <a:pt x="1968" y="1948"/>
                  </a:lnTo>
                  <a:lnTo>
                    <a:pt x="1970" y="1954"/>
                  </a:lnTo>
                  <a:lnTo>
                    <a:pt x="1972" y="1960"/>
                  </a:lnTo>
                  <a:lnTo>
                    <a:pt x="1980" y="1974"/>
                  </a:lnTo>
                  <a:lnTo>
                    <a:pt x="1982" y="1980"/>
                  </a:lnTo>
                  <a:lnTo>
                    <a:pt x="1988" y="1984"/>
                  </a:lnTo>
                  <a:lnTo>
                    <a:pt x="1994" y="1986"/>
                  </a:lnTo>
                  <a:lnTo>
                    <a:pt x="1998" y="1986"/>
                  </a:lnTo>
                  <a:lnTo>
                    <a:pt x="2014" y="1986"/>
                  </a:lnTo>
                  <a:lnTo>
                    <a:pt x="2018" y="1986"/>
                  </a:lnTo>
                  <a:lnTo>
                    <a:pt x="2024" y="1988"/>
                  </a:lnTo>
                  <a:lnTo>
                    <a:pt x="2032" y="1990"/>
                  </a:lnTo>
                  <a:lnTo>
                    <a:pt x="2038" y="1992"/>
                  </a:lnTo>
                  <a:lnTo>
                    <a:pt x="2044" y="1996"/>
                  </a:lnTo>
                  <a:lnTo>
                    <a:pt x="2052" y="1996"/>
                  </a:lnTo>
                  <a:lnTo>
                    <a:pt x="2056" y="1996"/>
                  </a:lnTo>
                  <a:lnTo>
                    <a:pt x="2062" y="1994"/>
                  </a:lnTo>
                  <a:lnTo>
                    <a:pt x="2066" y="1988"/>
                  </a:lnTo>
                  <a:lnTo>
                    <a:pt x="2072" y="1974"/>
                  </a:lnTo>
                  <a:lnTo>
                    <a:pt x="2074" y="1968"/>
                  </a:lnTo>
                  <a:lnTo>
                    <a:pt x="2078" y="1962"/>
                  </a:lnTo>
                  <a:lnTo>
                    <a:pt x="2088" y="1950"/>
                  </a:lnTo>
                  <a:lnTo>
                    <a:pt x="2090" y="1944"/>
                  </a:lnTo>
                  <a:lnTo>
                    <a:pt x="2094" y="1932"/>
                  </a:lnTo>
                  <a:lnTo>
                    <a:pt x="2096" y="1928"/>
                  </a:lnTo>
                  <a:lnTo>
                    <a:pt x="2100" y="1924"/>
                  </a:lnTo>
                  <a:lnTo>
                    <a:pt x="2106" y="1922"/>
                  </a:lnTo>
                  <a:lnTo>
                    <a:pt x="2108" y="1920"/>
                  </a:lnTo>
                  <a:lnTo>
                    <a:pt x="2108" y="1918"/>
                  </a:lnTo>
                  <a:lnTo>
                    <a:pt x="2108" y="1916"/>
                  </a:lnTo>
                  <a:lnTo>
                    <a:pt x="2106" y="1914"/>
                  </a:lnTo>
                  <a:lnTo>
                    <a:pt x="2100" y="1912"/>
                  </a:lnTo>
                  <a:lnTo>
                    <a:pt x="2096" y="1908"/>
                  </a:lnTo>
                  <a:lnTo>
                    <a:pt x="2094" y="1900"/>
                  </a:lnTo>
                  <a:lnTo>
                    <a:pt x="2094" y="1898"/>
                  </a:lnTo>
                  <a:lnTo>
                    <a:pt x="2094" y="1882"/>
                  </a:lnTo>
                  <a:lnTo>
                    <a:pt x="2094" y="1878"/>
                  </a:lnTo>
                  <a:lnTo>
                    <a:pt x="2096" y="1870"/>
                  </a:lnTo>
                  <a:lnTo>
                    <a:pt x="2100" y="1866"/>
                  </a:lnTo>
                  <a:lnTo>
                    <a:pt x="2106" y="1864"/>
                  </a:lnTo>
                  <a:lnTo>
                    <a:pt x="2108" y="1862"/>
                  </a:lnTo>
                  <a:lnTo>
                    <a:pt x="2110" y="1858"/>
                  </a:lnTo>
                  <a:lnTo>
                    <a:pt x="2110" y="1856"/>
                  </a:lnTo>
                  <a:lnTo>
                    <a:pt x="2110" y="1852"/>
                  </a:lnTo>
                  <a:lnTo>
                    <a:pt x="2106" y="1848"/>
                  </a:lnTo>
                  <a:lnTo>
                    <a:pt x="2102" y="1842"/>
                  </a:lnTo>
                  <a:lnTo>
                    <a:pt x="2096" y="1836"/>
                  </a:lnTo>
                  <a:lnTo>
                    <a:pt x="2090" y="1834"/>
                  </a:lnTo>
                  <a:lnTo>
                    <a:pt x="2084" y="1832"/>
                  </a:lnTo>
                  <a:lnTo>
                    <a:pt x="2076" y="1834"/>
                  </a:lnTo>
                  <a:lnTo>
                    <a:pt x="2052" y="1846"/>
                  </a:lnTo>
                  <a:lnTo>
                    <a:pt x="2046" y="1850"/>
                  </a:lnTo>
                  <a:lnTo>
                    <a:pt x="2040" y="1856"/>
                  </a:lnTo>
                  <a:lnTo>
                    <a:pt x="2020" y="1882"/>
                  </a:lnTo>
                  <a:lnTo>
                    <a:pt x="2014" y="1888"/>
                  </a:lnTo>
                  <a:lnTo>
                    <a:pt x="2008" y="1892"/>
                  </a:lnTo>
                  <a:lnTo>
                    <a:pt x="2004" y="1896"/>
                  </a:lnTo>
                  <a:lnTo>
                    <a:pt x="1988" y="1902"/>
                  </a:lnTo>
                  <a:lnTo>
                    <a:pt x="1984" y="1904"/>
                  </a:lnTo>
                  <a:lnTo>
                    <a:pt x="1972" y="1914"/>
                  </a:lnTo>
                  <a:lnTo>
                    <a:pt x="1968" y="1920"/>
                  </a:lnTo>
                  <a:lnTo>
                    <a:pt x="1966" y="1926"/>
                  </a:lnTo>
                  <a:lnTo>
                    <a:pt x="1966" y="1940"/>
                  </a:lnTo>
                  <a:close/>
                  <a:moveTo>
                    <a:pt x="2180" y="1810"/>
                  </a:moveTo>
                  <a:lnTo>
                    <a:pt x="2180" y="1810"/>
                  </a:lnTo>
                  <a:lnTo>
                    <a:pt x="2174" y="1814"/>
                  </a:lnTo>
                  <a:lnTo>
                    <a:pt x="2170" y="1818"/>
                  </a:lnTo>
                  <a:lnTo>
                    <a:pt x="2164" y="1832"/>
                  </a:lnTo>
                  <a:lnTo>
                    <a:pt x="2164" y="1834"/>
                  </a:lnTo>
                  <a:lnTo>
                    <a:pt x="2164" y="1836"/>
                  </a:lnTo>
                  <a:lnTo>
                    <a:pt x="2166" y="1838"/>
                  </a:lnTo>
                  <a:lnTo>
                    <a:pt x="2168" y="1836"/>
                  </a:lnTo>
                  <a:lnTo>
                    <a:pt x="2174" y="1834"/>
                  </a:lnTo>
                  <a:lnTo>
                    <a:pt x="2180" y="1832"/>
                  </a:lnTo>
                  <a:lnTo>
                    <a:pt x="2186" y="1834"/>
                  </a:lnTo>
                  <a:lnTo>
                    <a:pt x="2192" y="1838"/>
                  </a:lnTo>
                  <a:lnTo>
                    <a:pt x="2200" y="1840"/>
                  </a:lnTo>
                  <a:lnTo>
                    <a:pt x="2204" y="1840"/>
                  </a:lnTo>
                  <a:lnTo>
                    <a:pt x="2210" y="1840"/>
                  </a:lnTo>
                  <a:lnTo>
                    <a:pt x="2218" y="1844"/>
                  </a:lnTo>
                  <a:lnTo>
                    <a:pt x="2224" y="1846"/>
                  </a:lnTo>
                  <a:lnTo>
                    <a:pt x="2226" y="1846"/>
                  </a:lnTo>
                  <a:lnTo>
                    <a:pt x="2228" y="1846"/>
                  </a:lnTo>
                  <a:lnTo>
                    <a:pt x="2230" y="1844"/>
                  </a:lnTo>
                  <a:lnTo>
                    <a:pt x="2230" y="1842"/>
                  </a:lnTo>
                  <a:lnTo>
                    <a:pt x="2230" y="1818"/>
                  </a:lnTo>
                  <a:lnTo>
                    <a:pt x="2230" y="1812"/>
                  </a:lnTo>
                  <a:lnTo>
                    <a:pt x="2226" y="1806"/>
                  </a:lnTo>
                  <a:lnTo>
                    <a:pt x="2216" y="1798"/>
                  </a:lnTo>
                  <a:lnTo>
                    <a:pt x="2214" y="1796"/>
                  </a:lnTo>
                  <a:lnTo>
                    <a:pt x="2212" y="1794"/>
                  </a:lnTo>
                  <a:lnTo>
                    <a:pt x="2208" y="1796"/>
                  </a:lnTo>
                  <a:lnTo>
                    <a:pt x="2206" y="1798"/>
                  </a:lnTo>
                  <a:lnTo>
                    <a:pt x="2198" y="1806"/>
                  </a:lnTo>
                  <a:lnTo>
                    <a:pt x="2190" y="1810"/>
                  </a:lnTo>
                  <a:lnTo>
                    <a:pt x="2184" y="1810"/>
                  </a:lnTo>
                  <a:lnTo>
                    <a:pt x="2180" y="1810"/>
                  </a:lnTo>
                  <a:close/>
                  <a:moveTo>
                    <a:pt x="2152" y="1544"/>
                  </a:moveTo>
                  <a:lnTo>
                    <a:pt x="2152" y="1544"/>
                  </a:lnTo>
                  <a:lnTo>
                    <a:pt x="2152" y="1542"/>
                  </a:lnTo>
                  <a:lnTo>
                    <a:pt x="2152" y="1540"/>
                  </a:lnTo>
                  <a:lnTo>
                    <a:pt x="2150" y="1540"/>
                  </a:lnTo>
                  <a:lnTo>
                    <a:pt x="2148" y="1542"/>
                  </a:lnTo>
                  <a:lnTo>
                    <a:pt x="2138" y="1550"/>
                  </a:lnTo>
                  <a:lnTo>
                    <a:pt x="2134" y="1558"/>
                  </a:lnTo>
                  <a:lnTo>
                    <a:pt x="2132" y="1564"/>
                  </a:lnTo>
                  <a:lnTo>
                    <a:pt x="2132" y="1568"/>
                  </a:lnTo>
                  <a:lnTo>
                    <a:pt x="2134" y="1576"/>
                  </a:lnTo>
                  <a:lnTo>
                    <a:pt x="2136" y="1584"/>
                  </a:lnTo>
                  <a:lnTo>
                    <a:pt x="2140" y="1588"/>
                  </a:lnTo>
                  <a:lnTo>
                    <a:pt x="2140" y="1590"/>
                  </a:lnTo>
                  <a:lnTo>
                    <a:pt x="2142" y="1592"/>
                  </a:lnTo>
                  <a:lnTo>
                    <a:pt x="2144" y="1590"/>
                  </a:lnTo>
                  <a:lnTo>
                    <a:pt x="2144" y="1588"/>
                  </a:lnTo>
                  <a:lnTo>
                    <a:pt x="2150" y="1564"/>
                  </a:lnTo>
                  <a:lnTo>
                    <a:pt x="2152" y="1548"/>
                  </a:lnTo>
                  <a:lnTo>
                    <a:pt x="2152" y="1544"/>
                  </a:lnTo>
                  <a:close/>
                  <a:moveTo>
                    <a:pt x="2066" y="2082"/>
                  </a:moveTo>
                  <a:lnTo>
                    <a:pt x="2066" y="2082"/>
                  </a:lnTo>
                  <a:lnTo>
                    <a:pt x="2068" y="2082"/>
                  </a:lnTo>
                  <a:lnTo>
                    <a:pt x="2070" y="2082"/>
                  </a:lnTo>
                  <a:lnTo>
                    <a:pt x="2072" y="2080"/>
                  </a:lnTo>
                  <a:lnTo>
                    <a:pt x="2070" y="2078"/>
                  </a:lnTo>
                  <a:lnTo>
                    <a:pt x="2068" y="2072"/>
                  </a:lnTo>
                  <a:lnTo>
                    <a:pt x="2062" y="2066"/>
                  </a:lnTo>
                  <a:lnTo>
                    <a:pt x="2056" y="2062"/>
                  </a:lnTo>
                  <a:lnTo>
                    <a:pt x="2032" y="2058"/>
                  </a:lnTo>
                  <a:lnTo>
                    <a:pt x="2018" y="2052"/>
                  </a:lnTo>
                  <a:lnTo>
                    <a:pt x="2012" y="2048"/>
                  </a:lnTo>
                  <a:lnTo>
                    <a:pt x="2006" y="2046"/>
                  </a:lnTo>
                  <a:lnTo>
                    <a:pt x="1998" y="2046"/>
                  </a:lnTo>
                  <a:lnTo>
                    <a:pt x="1994" y="2046"/>
                  </a:lnTo>
                  <a:lnTo>
                    <a:pt x="1978" y="2046"/>
                  </a:lnTo>
                  <a:lnTo>
                    <a:pt x="1964" y="2046"/>
                  </a:lnTo>
                  <a:lnTo>
                    <a:pt x="1948" y="2046"/>
                  </a:lnTo>
                  <a:lnTo>
                    <a:pt x="1916" y="2046"/>
                  </a:lnTo>
                  <a:lnTo>
                    <a:pt x="1912" y="2046"/>
                  </a:lnTo>
                  <a:lnTo>
                    <a:pt x="1916" y="2048"/>
                  </a:lnTo>
                  <a:lnTo>
                    <a:pt x="1940" y="2062"/>
                  </a:lnTo>
                  <a:lnTo>
                    <a:pt x="1954" y="2066"/>
                  </a:lnTo>
                  <a:lnTo>
                    <a:pt x="1998" y="2074"/>
                  </a:lnTo>
                  <a:lnTo>
                    <a:pt x="2014" y="2074"/>
                  </a:lnTo>
                  <a:lnTo>
                    <a:pt x="2026" y="2074"/>
                  </a:lnTo>
                  <a:lnTo>
                    <a:pt x="2042" y="2076"/>
                  </a:lnTo>
                  <a:lnTo>
                    <a:pt x="2066" y="2082"/>
                  </a:lnTo>
                  <a:close/>
                  <a:moveTo>
                    <a:pt x="2126" y="1676"/>
                  </a:moveTo>
                  <a:lnTo>
                    <a:pt x="2126" y="1676"/>
                  </a:lnTo>
                  <a:lnTo>
                    <a:pt x="2124" y="1684"/>
                  </a:lnTo>
                  <a:lnTo>
                    <a:pt x="2126" y="1692"/>
                  </a:lnTo>
                  <a:lnTo>
                    <a:pt x="2130" y="1706"/>
                  </a:lnTo>
                  <a:lnTo>
                    <a:pt x="2134" y="1712"/>
                  </a:lnTo>
                  <a:lnTo>
                    <a:pt x="2138" y="1718"/>
                  </a:lnTo>
                  <a:lnTo>
                    <a:pt x="2142" y="1722"/>
                  </a:lnTo>
                  <a:lnTo>
                    <a:pt x="2148" y="1722"/>
                  </a:lnTo>
                  <a:lnTo>
                    <a:pt x="2152" y="1724"/>
                  </a:lnTo>
                  <a:lnTo>
                    <a:pt x="2158" y="1728"/>
                  </a:lnTo>
                  <a:lnTo>
                    <a:pt x="2174" y="1738"/>
                  </a:lnTo>
                  <a:lnTo>
                    <a:pt x="2180" y="1744"/>
                  </a:lnTo>
                  <a:lnTo>
                    <a:pt x="2186" y="1750"/>
                  </a:lnTo>
                  <a:lnTo>
                    <a:pt x="2188" y="1754"/>
                  </a:lnTo>
                  <a:lnTo>
                    <a:pt x="2192" y="1760"/>
                  </a:lnTo>
                  <a:lnTo>
                    <a:pt x="2198" y="1766"/>
                  </a:lnTo>
                  <a:lnTo>
                    <a:pt x="2204" y="1768"/>
                  </a:lnTo>
                  <a:lnTo>
                    <a:pt x="2206" y="1768"/>
                  </a:lnTo>
                  <a:lnTo>
                    <a:pt x="2208" y="1768"/>
                  </a:lnTo>
                  <a:lnTo>
                    <a:pt x="2210" y="1766"/>
                  </a:lnTo>
                  <a:lnTo>
                    <a:pt x="2210" y="1764"/>
                  </a:lnTo>
                  <a:lnTo>
                    <a:pt x="2210" y="1760"/>
                  </a:lnTo>
                  <a:lnTo>
                    <a:pt x="2210" y="1752"/>
                  </a:lnTo>
                  <a:lnTo>
                    <a:pt x="2206" y="1746"/>
                  </a:lnTo>
                  <a:lnTo>
                    <a:pt x="2196" y="1730"/>
                  </a:lnTo>
                  <a:lnTo>
                    <a:pt x="2190" y="1724"/>
                  </a:lnTo>
                  <a:lnTo>
                    <a:pt x="2184" y="1718"/>
                  </a:lnTo>
                  <a:lnTo>
                    <a:pt x="2168" y="1708"/>
                  </a:lnTo>
                  <a:lnTo>
                    <a:pt x="2164" y="1704"/>
                  </a:lnTo>
                  <a:lnTo>
                    <a:pt x="2162" y="1698"/>
                  </a:lnTo>
                  <a:lnTo>
                    <a:pt x="2164" y="1686"/>
                  </a:lnTo>
                  <a:lnTo>
                    <a:pt x="2170" y="1672"/>
                  </a:lnTo>
                  <a:lnTo>
                    <a:pt x="2168" y="1666"/>
                  </a:lnTo>
                  <a:lnTo>
                    <a:pt x="2164" y="1660"/>
                  </a:lnTo>
                  <a:lnTo>
                    <a:pt x="2160" y="1658"/>
                  </a:lnTo>
                  <a:lnTo>
                    <a:pt x="2152" y="1656"/>
                  </a:lnTo>
                  <a:lnTo>
                    <a:pt x="2146" y="1658"/>
                  </a:lnTo>
                  <a:lnTo>
                    <a:pt x="2140" y="1660"/>
                  </a:lnTo>
                  <a:lnTo>
                    <a:pt x="2134" y="1666"/>
                  </a:lnTo>
                  <a:lnTo>
                    <a:pt x="2130" y="1672"/>
                  </a:lnTo>
                  <a:lnTo>
                    <a:pt x="2126" y="1676"/>
                  </a:lnTo>
                  <a:close/>
                  <a:moveTo>
                    <a:pt x="3046" y="620"/>
                  </a:moveTo>
                  <a:lnTo>
                    <a:pt x="3046" y="620"/>
                  </a:lnTo>
                  <a:lnTo>
                    <a:pt x="3052" y="616"/>
                  </a:lnTo>
                  <a:lnTo>
                    <a:pt x="3054" y="610"/>
                  </a:lnTo>
                  <a:lnTo>
                    <a:pt x="3062" y="478"/>
                  </a:lnTo>
                  <a:lnTo>
                    <a:pt x="3060" y="472"/>
                  </a:lnTo>
                  <a:lnTo>
                    <a:pt x="3056" y="466"/>
                  </a:lnTo>
                  <a:lnTo>
                    <a:pt x="3050" y="464"/>
                  </a:lnTo>
                  <a:lnTo>
                    <a:pt x="3038" y="460"/>
                  </a:lnTo>
                  <a:lnTo>
                    <a:pt x="3034" y="458"/>
                  </a:lnTo>
                  <a:lnTo>
                    <a:pt x="3028" y="454"/>
                  </a:lnTo>
                  <a:lnTo>
                    <a:pt x="3020" y="446"/>
                  </a:lnTo>
                  <a:lnTo>
                    <a:pt x="3006" y="438"/>
                  </a:lnTo>
                  <a:lnTo>
                    <a:pt x="3002" y="434"/>
                  </a:lnTo>
                  <a:lnTo>
                    <a:pt x="2994" y="432"/>
                  </a:lnTo>
                  <a:lnTo>
                    <a:pt x="2986" y="432"/>
                  </a:lnTo>
                  <a:lnTo>
                    <a:pt x="2972" y="432"/>
                  </a:lnTo>
                  <a:lnTo>
                    <a:pt x="2966" y="430"/>
                  </a:lnTo>
                  <a:lnTo>
                    <a:pt x="2958" y="428"/>
                  </a:lnTo>
                  <a:lnTo>
                    <a:pt x="2952" y="424"/>
                  </a:lnTo>
                  <a:lnTo>
                    <a:pt x="2946" y="422"/>
                  </a:lnTo>
                  <a:lnTo>
                    <a:pt x="2938" y="422"/>
                  </a:lnTo>
                  <a:lnTo>
                    <a:pt x="2934" y="422"/>
                  </a:lnTo>
                  <a:lnTo>
                    <a:pt x="2920" y="422"/>
                  </a:lnTo>
                  <a:lnTo>
                    <a:pt x="2918" y="424"/>
                  </a:lnTo>
                  <a:lnTo>
                    <a:pt x="2918" y="430"/>
                  </a:lnTo>
                  <a:lnTo>
                    <a:pt x="2924" y="452"/>
                  </a:lnTo>
                  <a:lnTo>
                    <a:pt x="2922" y="460"/>
                  </a:lnTo>
                  <a:lnTo>
                    <a:pt x="2918" y="464"/>
                  </a:lnTo>
                  <a:lnTo>
                    <a:pt x="2914" y="466"/>
                  </a:lnTo>
                  <a:lnTo>
                    <a:pt x="2906" y="468"/>
                  </a:lnTo>
                  <a:lnTo>
                    <a:pt x="2900" y="466"/>
                  </a:lnTo>
                  <a:lnTo>
                    <a:pt x="2894" y="464"/>
                  </a:lnTo>
                  <a:lnTo>
                    <a:pt x="2888" y="460"/>
                  </a:lnTo>
                  <a:lnTo>
                    <a:pt x="2882" y="454"/>
                  </a:lnTo>
                  <a:lnTo>
                    <a:pt x="2880" y="448"/>
                  </a:lnTo>
                  <a:lnTo>
                    <a:pt x="2876" y="436"/>
                  </a:lnTo>
                  <a:lnTo>
                    <a:pt x="2874" y="432"/>
                  </a:lnTo>
                  <a:lnTo>
                    <a:pt x="2868" y="432"/>
                  </a:lnTo>
                  <a:lnTo>
                    <a:pt x="2856" y="432"/>
                  </a:lnTo>
                  <a:lnTo>
                    <a:pt x="2848" y="432"/>
                  </a:lnTo>
                  <a:lnTo>
                    <a:pt x="2842" y="436"/>
                  </a:lnTo>
                  <a:lnTo>
                    <a:pt x="2836" y="438"/>
                  </a:lnTo>
                  <a:lnTo>
                    <a:pt x="2830" y="438"/>
                  </a:lnTo>
                  <a:lnTo>
                    <a:pt x="2816" y="434"/>
                  </a:lnTo>
                  <a:lnTo>
                    <a:pt x="2800" y="432"/>
                  </a:lnTo>
                  <a:lnTo>
                    <a:pt x="2786" y="432"/>
                  </a:lnTo>
                  <a:lnTo>
                    <a:pt x="2780" y="432"/>
                  </a:lnTo>
                  <a:lnTo>
                    <a:pt x="2774" y="436"/>
                  </a:lnTo>
                  <a:lnTo>
                    <a:pt x="2772" y="438"/>
                  </a:lnTo>
                  <a:lnTo>
                    <a:pt x="2768" y="438"/>
                  </a:lnTo>
                  <a:lnTo>
                    <a:pt x="2764" y="436"/>
                  </a:lnTo>
                  <a:lnTo>
                    <a:pt x="2756" y="426"/>
                  </a:lnTo>
                  <a:lnTo>
                    <a:pt x="2752" y="420"/>
                  </a:lnTo>
                  <a:lnTo>
                    <a:pt x="2750" y="414"/>
                  </a:lnTo>
                  <a:lnTo>
                    <a:pt x="2750" y="400"/>
                  </a:lnTo>
                  <a:lnTo>
                    <a:pt x="2748" y="394"/>
                  </a:lnTo>
                  <a:lnTo>
                    <a:pt x="2742" y="388"/>
                  </a:lnTo>
                  <a:lnTo>
                    <a:pt x="2726" y="376"/>
                  </a:lnTo>
                  <a:lnTo>
                    <a:pt x="2720" y="374"/>
                  </a:lnTo>
                  <a:lnTo>
                    <a:pt x="2712" y="372"/>
                  </a:lnTo>
                  <a:lnTo>
                    <a:pt x="2680" y="372"/>
                  </a:lnTo>
                  <a:lnTo>
                    <a:pt x="2664" y="372"/>
                  </a:lnTo>
                  <a:lnTo>
                    <a:pt x="2630" y="372"/>
                  </a:lnTo>
                  <a:lnTo>
                    <a:pt x="2624" y="370"/>
                  </a:lnTo>
                  <a:lnTo>
                    <a:pt x="2622" y="368"/>
                  </a:lnTo>
                  <a:lnTo>
                    <a:pt x="2620" y="362"/>
                  </a:lnTo>
                  <a:lnTo>
                    <a:pt x="2618" y="358"/>
                  </a:lnTo>
                  <a:lnTo>
                    <a:pt x="2606" y="348"/>
                  </a:lnTo>
                  <a:lnTo>
                    <a:pt x="2590" y="338"/>
                  </a:lnTo>
                  <a:lnTo>
                    <a:pt x="2586" y="332"/>
                  </a:lnTo>
                  <a:lnTo>
                    <a:pt x="2584" y="326"/>
                  </a:lnTo>
                  <a:lnTo>
                    <a:pt x="2584" y="322"/>
                  </a:lnTo>
                  <a:lnTo>
                    <a:pt x="2580" y="316"/>
                  </a:lnTo>
                  <a:lnTo>
                    <a:pt x="2576" y="312"/>
                  </a:lnTo>
                  <a:lnTo>
                    <a:pt x="2474" y="286"/>
                  </a:lnTo>
                  <a:lnTo>
                    <a:pt x="2468" y="286"/>
                  </a:lnTo>
                  <a:lnTo>
                    <a:pt x="2466" y="288"/>
                  </a:lnTo>
                  <a:lnTo>
                    <a:pt x="2466" y="290"/>
                  </a:lnTo>
                  <a:lnTo>
                    <a:pt x="2464" y="294"/>
                  </a:lnTo>
                  <a:lnTo>
                    <a:pt x="2458" y="298"/>
                  </a:lnTo>
                  <a:lnTo>
                    <a:pt x="2442" y="310"/>
                  </a:lnTo>
                  <a:lnTo>
                    <a:pt x="2438" y="314"/>
                  </a:lnTo>
                  <a:lnTo>
                    <a:pt x="2438" y="322"/>
                  </a:lnTo>
                  <a:lnTo>
                    <a:pt x="2444" y="336"/>
                  </a:lnTo>
                  <a:lnTo>
                    <a:pt x="2444" y="338"/>
                  </a:lnTo>
                  <a:lnTo>
                    <a:pt x="2444" y="342"/>
                  </a:lnTo>
                  <a:lnTo>
                    <a:pt x="2442" y="344"/>
                  </a:lnTo>
                  <a:lnTo>
                    <a:pt x="2438" y="346"/>
                  </a:lnTo>
                  <a:lnTo>
                    <a:pt x="2424" y="350"/>
                  </a:lnTo>
                  <a:lnTo>
                    <a:pt x="2408" y="352"/>
                  </a:lnTo>
                  <a:lnTo>
                    <a:pt x="2406" y="352"/>
                  </a:lnTo>
                  <a:lnTo>
                    <a:pt x="2390" y="350"/>
                  </a:lnTo>
                  <a:lnTo>
                    <a:pt x="2376" y="346"/>
                  </a:lnTo>
                  <a:lnTo>
                    <a:pt x="2368" y="346"/>
                  </a:lnTo>
                  <a:lnTo>
                    <a:pt x="2362" y="348"/>
                  </a:lnTo>
                  <a:lnTo>
                    <a:pt x="2358" y="350"/>
                  </a:lnTo>
                  <a:lnTo>
                    <a:pt x="2350" y="350"/>
                  </a:lnTo>
                  <a:lnTo>
                    <a:pt x="2346" y="346"/>
                  </a:lnTo>
                  <a:lnTo>
                    <a:pt x="2332" y="340"/>
                  </a:lnTo>
                  <a:lnTo>
                    <a:pt x="2326" y="336"/>
                  </a:lnTo>
                  <a:lnTo>
                    <a:pt x="2324" y="336"/>
                  </a:lnTo>
                  <a:lnTo>
                    <a:pt x="2322" y="336"/>
                  </a:lnTo>
                  <a:lnTo>
                    <a:pt x="2320" y="338"/>
                  </a:lnTo>
                  <a:lnTo>
                    <a:pt x="2318" y="342"/>
                  </a:lnTo>
                  <a:lnTo>
                    <a:pt x="2318" y="354"/>
                  </a:lnTo>
                  <a:lnTo>
                    <a:pt x="2318" y="362"/>
                  </a:lnTo>
                  <a:lnTo>
                    <a:pt x="2314" y="368"/>
                  </a:lnTo>
                  <a:lnTo>
                    <a:pt x="2304" y="376"/>
                  </a:lnTo>
                  <a:lnTo>
                    <a:pt x="2302" y="378"/>
                  </a:lnTo>
                  <a:lnTo>
                    <a:pt x="2300" y="378"/>
                  </a:lnTo>
                  <a:lnTo>
                    <a:pt x="2298" y="378"/>
                  </a:lnTo>
                  <a:lnTo>
                    <a:pt x="2294" y="376"/>
                  </a:lnTo>
                  <a:lnTo>
                    <a:pt x="2284" y="360"/>
                  </a:lnTo>
                  <a:lnTo>
                    <a:pt x="2276" y="346"/>
                  </a:lnTo>
                  <a:lnTo>
                    <a:pt x="2264" y="330"/>
                  </a:lnTo>
                  <a:lnTo>
                    <a:pt x="2262" y="324"/>
                  </a:lnTo>
                  <a:lnTo>
                    <a:pt x="2264" y="316"/>
                  </a:lnTo>
                  <a:lnTo>
                    <a:pt x="2276" y="300"/>
                  </a:lnTo>
                  <a:lnTo>
                    <a:pt x="2278" y="294"/>
                  </a:lnTo>
                  <a:lnTo>
                    <a:pt x="2280" y="286"/>
                  </a:lnTo>
                  <a:lnTo>
                    <a:pt x="2280" y="282"/>
                  </a:lnTo>
                  <a:lnTo>
                    <a:pt x="2278" y="276"/>
                  </a:lnTo>
                  <a:lnTo>
                    <a:pt x="2274" y="268"/>
                  </a:lnTo>
                  <a:lnTo>
                    <a:pt x="2266" y="260"/>
                  </a:lnTo>
                  <a:lnTo>
                    <a:pt x="2252" y="252"/>
                  </a:lnTo>
                  <a:lnTo>
                    <a:pt x="2248" y="248"/>
                  </a:lnTo>
                  <a:lnTo>
                    <a:pt x="2240" y="246"/>
                  </a:lnTo>
                  <a:lnTo>
                    <a:pt x="2232" y="246"/>
                  </a:lnTo>
                  <a:lnTo>
                    <a:pt x="2230" y="246"/>
                  </a:lnTo>
                  <a:lnTo>
                    <a:pt x="2222" y="244"/>
                  </a:lnTo>
                  <a:lnTo>
                    <a:pt x="2216" y="240"/>
                  </a:lnTo>
                  <a:lnTo>
                    <a:pt x="2204" y="232"/>
                  </a:lnTo>
                  <a:lnTo>
                    <a:pt x="2198" y="230"/>
                  </a:lnTo>
                  <a:lnTo>
                    <a:pt x="2196" y="228"/>
                  </a:lnTo>
                  <a:lnTo>
                    <a:pt x="2192" y="228"/>
                  </a:lnTo>
                  <a:lnTo>
                    <a:pt x="2190" y="230"/>
                  </a:lnTo>
                  <a:lnTo>
                    <a:pt x="2188" y="232"/>
                  </a:lnTo>
                  <a:lnTo>
                    <a:pt x="2186" y="238"/>
                  </a:lnTo>
                  <a:lnTo>
                    <a:pt x="2178" y="252"/>
                  </a:lnTo>
                  <a:lnTo>
                    <a:pt x="2176" y="258"/>
                  </a:lnTo>
                  <a:lnTo>
                    <a:pt x="2170" y="262"/>
                  </a:lnTo>
                  <a:lnTo>
                    <a:pt x="2164" y="264"/>
                  </a:lnTo>
                  <a:lnTo>
                    <a:pt x="2132" y="264"/>
                  </a:lnTo>
                  <a:lnTo>
                    <a:pt x="2124" y="264"/>
                  </a:lnTo>
                  <a:lnTo>
                    <a:pt x="2116" y="262"/>
                  </a:lnTo>
                  <a:lnTo>
                    <a:pt x="2110" y="258"/>
                  </a:lnTo>
                  <a:lnTo>
                    <a:pt x="2104" y="254"/>
                  </a:lnTo>
                  <a:lnTo>
                    <a:pt x="2100" y="248"/>
                  </a:lnTo>
                  <a:lnTo>
                    <a:pt x="2098" y="242"/>
                  </a:lnTo>
                  <a:lnTo>
                    <a:pt x="2092" y="238"/>
                  </a:lnTo>
                  <a:lnTo>
                    <a:pt x="2086" y="236"/>
                  </a:lnTo>
                  <a:lnTo>
                    <a:pt x="2062" y="236"/>
                  </a:lnTo>
                  <a:lnTo>
                    <a:pt x="2054" y="236"/>
                  </a:lnTo>
                  <a:lnTo>
                    <a:pt x="2048" y="240"/>
                  </a:lnTo>
                  <a:lnTo>
                    <a:pt x="2032" y="250"/>
                  </a:lnTo>
                  <a:lnTo>
                    <a:pt x="2030" y="252"/>
                  </a:lnTo>
                  <a:lnTo>
                    <a:pt x="2028" y="252"/>
                  </a:lnTo>
                  <a:lnTo>
                    <a:pt x="2026" y="250"/>
                  </a:lnTo>
                  <a:lnTo>
                    <a:pt x="2026" y="246"/>
                  </a:lnTo>
                  <a:lnTo>
                    <a:pt x="2026" y="244"/>
                  </a:lnTo>
                  <a:lnTo>
                    <a:pt x="2024" y="236"/>
                  </a:lnTo>
                  <a:lnTo>
                    <a:pt x="2020" y="230"/>
                  </a:lnTo>
                  <a:lnTo>
                    <a:pt x="2012" y="222"/>
                  </a:lnTo>
                  <a:lnTo>
                    <a:pt x="2004" y="218"/>
                  </a:lnTo>
                  <a:lnTo>
                    <a:pt x="1998" y="216"/>
                  </a:lnTo>
                  <a:lnTo>
                    <a:pt x="1994" y="216"/>
                  </a:lnTo>
                  <a:lnTo>
                    <a:pt x="1986" y="218"/>
                  </a:lnTo>
                  <a:lnTo>
                    <a:pt x="1980" y="222"/>
                  </a:lnTo>
                  <a:lnTo>
                    <a:pt x="1972" y="230"/>
                  </a:lnTo>
                  <a:lnTo>
                    <a:pt x="1960" y="240"/>
                  </a:lnTo>
                  <a:lnTo>
                    <a:pt x="1944" y="250"/>
                  </a:lnTo>
                  <a:lnTo>
                    <a:pt x="1930" y="260"/>
                  </a:lnTo>
                  <a:lnTo>
                    <a:pt x="1914" y="270"/>
                  </a:lnTo>
                  <a:lnTo>
                    <a:pt x="1910" y="272"/>
                  </a:lnTo>
                  <a:lnTo>
                    <a:pt x="1912" y="268"/>
                  </a:lnTo>
                  <a:lnTo>
                    <a:pt x="1922" y="252"/>
                  </a:lnTo>
                  <a:lnTo>
                    <a:pt x="1928" y="246"/>
                  </a:lnTo>
                  <a:lnTo>
                    <a:pt x="1934" y="242"/>
                  </a:lnTo>
                  <a:lnTo>
                    <a:pt x="1940" y="238"/>
                  </a:lnTo>
                  <a:lnTo>
                    <a:pt x="1946" y="234"/>
                  </a:lnTo>
                  <a:lnTo>
                    <a:pt x="1952" y="228"/>
                  </a:lnTo>
                  <a:lnTo>
                    <a:pt x="1972" y="194"/>
                  </a:lnTo>
                  <a:lnTo>
                    <a:pt x="1982" y="180"/>
                  </a:lnTo>
                  <a:lnTo>
                    <a:pt x="1990" y="172"/>
                  </a:lnTo>
                  <a:lnTo>
                    <a:pt x="2000" y="160"/>
                  </a:lnTo>
                  <a:lnTo>
                    <a:pt x="2010" y="144"/>
                  </a:lnTo>
                  <a:lnTo>
                    <a:pt x="2014" y="138"/>
                  </a:lnTo>
                  <a:lnTo>
                    <a:pt x="2014" y="130"/>
                  </a:lnTo>
                  <a:lnTo>
                    <a:pt x="2008" y="96"/>
                  </a:lnTo>
                  <a:lnTo>
                    <a:pt x="2004" y="90"/>
                  </a:lnTo>
                  <a:lnTo>
                    <a:pt x="2000" y="84"/>
                  </a:lnTo>
                  <a:lnTo>
                    <a:pt x="1972" y="64"/>
                  </a:lnTo>
                  <a:lnTo>
                    <a:pt x="1958" y="56"/>
                  </a:lnTo>
                  <a:lnTo>
                    <a:pt x="1944" y="52"/>
                  </a:lnTo>
                  <a:lnTo>
                    <a:pt x="1940" y="48"/>
                  </a:lnTo>
                  <a:lnTo>
                    <a:pt x="1938" y="44"/>
                  </a:lnTo>
                  <a:lnTo>
                    <a:pt x="1934" y="32"/>
                  </a:lnTo>
                  <a:lnTo>
                    <a:pt x="1922" y="8"/>
                  </a:lnTo>
                  <a:lnTo>
                    <a:pt x="1916" y="2"/>
                  </a:lnTo>
                  <a:lnTo>
                    <a:pt x="1910" y="0"/>
                  </a:lnTo>
                  <a:lnTo>
                    <a:pt x="1886" y="0"/>
                  </a:lnTo>
                  <a:lnTo>
                    <a:pt x="1880" y="2"/>
                  </a:lnTo>
                  <a:lnTo>
                    <a:pt x="1872" y="6"/>
                  </a:lnTo>
                  <a:lnTo>
                    <a:pt x="1844" y="34"/>
                  </a:lnTo>
                  <a:lnTo>
                    <a:pt x="1840" y="40"/>
                  </a:lnTo>
                  <a:lnTo>
                    <a:pt x="1838" y="48"/>
                  </a:lnTo>
                  <a:lnTo>
                    <a:pt x="1832" y="70"/>
                  </a:lnTo>
                  <a:lnTo>
                    <a:pt x="1828" y="78"/>
                  </a:lnTo>
                  <a:lnTo>
                    <a:pt x="1822" y="82"/>
                  </a:lnTo>
                  <a:lnTo>
                    <a:pt x="1788" y="104"/>
                  </a:lnTo>
                  <a:lnTo>
                    <a:pt x="1780" y="106"/>
                  </a:lnTo>
                  <a:lnTo>
                    <a:pt x="1774" y="104"/>
                  </a:lnTo>
                  <a:lnTo>
                    <a:pt x="1758" y="92"/>
                  </a:lnTo>
                  <a:lnTo>
                    <a:pt x="1750" y="90"/>
                  </a:lnTo>
                  <a:lnTo>
                    <a:pt x="1744" y="92"/>
                  </a:lnTo>
                  <a:lnTo>
                    <a:pt x="1710" y="106"/>
                  </a:lnTo>
                  <a:lnTo>
                    <a:pt x="1696" y="112"/>
                  </a:lnTo>
                  <a:lnTo>
                    <a:pt x="1660" y="134"/>
                  </a:lnTo>
                  <a:lnTo>
                    <a:pt x="1648" y="144"/>
                  </a:lnTo>
                  <a:lnTo>
                    <a:pt x="1630" y="162"/>
                  </a:lnTo>
                  <a:lnTo>
                    <a:pt x="1626" y="168"/>
                  </a:lnTo>
                  <a:lnTo>
                    <a:pt x="1622" y="174"/>
                  </a:lnTo>
                  <a:lnTo>
                    <a:pt x="1616" y="218"/>
                  </a:lnTo>
                  <a:lnTo>
                    <a:pt x="1612" y="224"/>
                  </a:lnTo>
                  <a:lnTo>
                    <a:pt x="1606" y="228"/>
                  </a:lnTo>
                  <a:lnTo>
                    <a:pt x="1544" y="244"/>
                  </a:lnTo>
                  <a:lnTo>
                    <a:pt x="1536" y="246"/>
                  </a:lnTo>
                  <a:lnTo>
                    <a:pt x="1532" y="252"/>
                  </a:lnTo>
                  <a:lnTo>
                    <a:pt x="1530" y="258"/>
                  </a:lnTo>
                  <a:lnTo>
                    <a:pt x="1528" y="264"/>
                  </a:lnTo>
                  <a:lnTo>
                    <a:pt x="1526" y="272"/>
                  </a:lnTo>
                  <a:lnTo>
                    <a:pt x="1526" y="306"/>
                  </a:lnTo>
                  <a:lnTo>
                    <a:pt x="1524" y="310"/>
                  </a:lnTo>
                  <a:lnTo>
                    <a:pt x="1522" y="308"/>
                  </a:lnTo>
                  <a:lnTo>
                    <a:pt x="1516" y="304"/>
                  </a:lnTo>
                  <a:lnTo>
                    <a:pt x="1508" y="302"/>
                  </a:lnTo>
                  <a:lnTo>
                    <a:pt x="1494" y="296"/>
                  </a:lnTo>
                  <a:lnTo>
                    <a:pt x="1488" y="296"/>
                  </a:lnTo>
                  <a:lnTo>
                    <a:pt x="1482" y="300"/>
                  </a:lnTo>
                  <a:lnTo>
                    <a:pt x="1472" y="316"/>
                  </a:lnTo>
                  <a:lnTo>
                    <a:pt x="1468" y="320"/>
                  </a:lnTo>
                  <a:lnTo>
                    <a:pt x="1464" y="320"/>
                  </a:lnTo>
                  <a:lnTo>
                    <a:pt x="1462" y="318"/>
                  </a:lnTo>
                  <a:lnTo>
                    <a:pt x="1458" y="314"/>
                  </a:lnTo>
                  <a:lnTo>
                    <a:pt x="1458" y="308"/>
                  </a:lnTo>
                  <a:lnTo>
                    <a:pt x="1456" y="304"/>
                  </a:lnTo>
                  <a:lnTo>
                    <a:pt x="1452" y="298"/>
                  </a:lnTo>
                  <a:lnTo>
                    <a:pt x="1444" y="290"/>
                  </a:lnTo>
                  <a:lnTo>
                    <a:pt x="1438" y="286"/>
                  </a:lnTo>
                  <a:lnTo>
                    <a:pt x="1434" y="284"/>
                  </a:lnTo>
                  <a:lnTo>
                    <a:pt x="1428" y="286"/>
                  </a:lnTo>
                  <a:lnTo>
                    <a:pt x="1426" y="292"/>
                  </a:lnTo>
                  <a:lnTo>
                    <a:pt x="1420" y="306"/>
                  </a:lnTo>
                  <a:lnTo>
                    <a:pt x="1418" y="322"/>
                  </a:lnTo>
                  <a:lnTo>
                    <a:pt x="1418" y="336"/>
                  </a:lnTo>
                  <a:lnTo>
                    <a:pt x="1418" y="352"/>
                  </a:lnTo>
                  <a:lnTo>
                    <a:pt x="1418" y="374"/>
                  </a:lnTo>
                  <a:lnTo>
                    <a:pt x="1416" y="382"/>
                  </a:lnTo>
                  <a:lnTo>
                    <a:pt x="1414" y="388"/>
                  </a:lnTo>
                  <a:lnTo>
                    <a:pt x="1412" y="388"/>
                  </a:lnTo>
                  <a:lnTo>
                    <a:pt x="1408" y="388"/>
                  </a:lnTo>
                  <a:lnTo>
                    <a:pt x="1404" y="384"/>
                  </a:lnTo>
                  <a:lnTo>
                    <a:pt x="1402" y="380"/>
                  </a:lnTo>
                  <a:lnTo>
                    <a:pt x="1400" y="372"/>
                  </a:lnTo>
                  <a:lnTo>
                    <a:pt x="1400" y="364"/>
                  </a:lnTo>
                  <a:lnTo>
                    <a:pt x="1406" y="340"/>
                  </a:lnTo>
                  <a:lnTo>
                    <a:pt x="1408" y="334"/>
                  </a:lnTo>
                  <a:lnTo>
                    <a:pt x="1406" y="326"/>
                  </a:lnTo>
                  <a:lnTo>
                    <a:pt x="1402" y="312"/>
                  </a:lnTo>
                  <a:lnTo>
                    <a:pt x="1398" y="296"/>
                  </a:lnTo>
                  <a:lnTo>
                    <a:pt x="1398" y="292"/>
                  </a:lnTo>
                  <a:lnTo>
                    <a:pt x="1396" y="286"/>
                  </a:lnTo>
                  <a:lnTo>
                    <a:pt x="1392" y="282"/>
                  </a:lnTo>
                  <a:lnTo>
                    <a:pt x="1376" y="278"/>
                  </a:lnTo>
                  <a:lnTo>
                    <a:pt x="1362" y="274"/>
                  </a:lnTo>
                  <a:lnTo>
                    <a:pt x="1348" y="274"/>
                  </a:lnTo>
                  <a:lnTo>
                    <a:pt x="1342" y="276"/>
                  </a:lnTo>
                  <a:lnTo>
                    <a:pt x="1338" y="282"/>
                  </a:lnTo>
                  <a:lnTo>
                    <a:pt x="1322" y="336"/>
                  </a:lnTo>
                  <a:lnTo>
                    <a:pt x="1320" y="342"/>
                  </a:lnTo>
                  <a:lnTo>
                    <a:pt x="1316" y="348"/>
                  </a:lnTo>
                  <a:lnTo>
                    <a:pt x="1308" y="360"/>
                  </a:lnTo>
                  <a:lnTo>
                    <a:pt x="1304" y="366"/>
                  </a:lnTo>
                  <a:lnTo>
                    <a:pt x="1304" y="372"/>
                  </a:lnTo>
                  <a:lnTo>
                    <a:pt x="1304" y="380"/>
                  </a:lnTo>
                  <a:lnTo>
                    <a:pt x="1308" y="384"/>
                  </a:lnTo>
                  <a:lnTo>
                    <a:pt x="1310" y="392"/>
                  </a:lnTo>
                  <a:lnTo>
                    <a:pt x="1310" y="400"/>
                  </a:lnTo>
                  <a:lnTo>
                    <a:pt x="1310" y="414"/>
                  </a:lnTo>
                  <a:lnTo>
                    <a:pt x="1310" y="426"/>
                  </a:lnTo>
                  <a:lnTo>
                    <a:pt x="1312" y="432"/>
                  </a:lnTo>
                  <a:lnTo>
                    <a:pt x="1316" y="436"/>
                  </a:lnTo>
                  <a:lnTo>
                    <a:pt x="1334" y="454"/>
                  </a:lnTo>
                  <a:lnTo>
                    <a:pt x="1338" y="460"/>
                  </a:lnTo>
                  <a:lnTo>
                    <a:pt x="1336" y="468"/>
                  </a:lnTo>
                  <a:lnTo>
                    <a:pt x="1324" y="484"/>
                  </a:lnTo>
                  <a:lnTo>
                    <a:pt x="1322" y="486"/>
                  </a:lnTo>
                  <a:lnTo>
                    <a:pt x="1320" y="486"/>
                  </a:lnTo>
                  <a:lnTo>
                    <a:pt x="1318" y="486"/>
                  </a:lnTo>
                  <a:lnTo>
                    <a:pt x="1314" y="484"/>
                  </a:lnTo>
                  <a:lnTo>
                    <a:pt x="1296" y="466"/>
                  </a:lnTo>
                  <a:lnTo>
                    <a:pt x="1284" y="456"/>
                  </a:lnTo>
                  <a:lnTo>
                    <a:pt x="1258" y="436"/>
                  </a:lnTo>
                  <a:lnTo>
                    <a:pt x="1252" y="432"/>
                  </a:lnTo>
                  <a:lnTo>
                    <a:pt x="1244" y="432"/>
                  </a:lnTo>
                  <a:lnTo>
                    <a:pt x="1230" y="432"/>
                  </a:lnTo>
                  <a:lnTo>
                    <a:pt x="1214" y="432"/>
                  </a:lnTo>
                  <a:lnTo>
                    <a:pt x="1212" y="432"/>
                  </a:lnTo>
                  <a:lnTo>
                    <a:pt x="1208" y="432"/>
                  </a:lnTo>
                  <a:lnTo>
                    <a:pt x="1206" y="434"/>
                  </a:lnTo>
                  <a:lnTo>
                    <a:pt x="1204" y="436"/>
                  </a:lnTo>
                  <a:lnTo>
                    <a:pt x="1204" y="440"/>
                  </a:lnTo>
                  <a:lnTo>
                    <a:pt x="1204" y="452"/>
                  </a:lnTo>
                  <a:lnTo>
                    <a:pt x="1202" y="460"/>
                  </a:lnTo>
                  <a:lnTo>
                    <a:pt x="1198" y="466"/>
                  </a:lnTo>
                  <a:lnTo>
                    <a:pt x="1192" y="468"/>
                  </a:lnTo>
                  <a:lnTo>
                    <a:pt x="1186" y="466"/>
                  </a:lnTo>
                  <a:lnTo>
                    <a:pt x="1180" y="464"/>
                  </a:lnTo>
                  <a:lnTo>
                    <a:pt x="1174" y="462"/>
                  </a:lnTo>
                  <a:lnTo>
                    <a:pt x="1166" y="464"/>
                  </a:lnTo>
                  <a:lnTo>
                    <a:pt x="1162" y="466"/>
                  </a:lnTo>
                  <a:lnTo>
                    <a:pt x="1146" y="474"/>
                  </a:lnTo>
                  <a:lnTo>
                    <a:pt x="1142" y="476"/>
                  </a:lnTo>
                  <a:lnTo>
                    <a:pt x="1134" y="478"/>
                  </a:lnTo>
                  <a:lnTo>
                    <a:pt x="1126" y="480"/>
                  </a:lnTo>
                  <a:lnTo>
                    <a:pt x="1124" y="480"/>
                  </a:lnTo>
                  <a:lnTo>
                    <a:pt x="1116" y="478"/>
                  </a:lnTo>
                  <a:lnTo>
                    <a:pt x="1110" y="476"/>
                  </a:lnTo>
                  <a:lnTo>
                    <a:pt x="1104" y="472"/>
                  </a:lnTo>
                  <a:lnTo>
                    <a:pt x="1098" y="474"/>
                  </a:lnTo>
                  <a:lnTo>
                    <a:pt x="1092" y="476"/>
                  </a:lnTo>
                  <a:lnTo>
                    <a:pt x="1078" y="484"/>
                  </a:lnTo>
                  <a:lnTo>
                    <a:pt x="1062" y="496"/>
                  </a:lnTo>
                  <a:lnTo>
                    <a:pt x="1050" y="504"/>
                  </a:lnTo>
                  <a:lnTo>
                    <a:pt x="1024" y="516"/>
                  </a:lnTo>
                  <a:lnTo>
                    <a:pt x="1012" y="520"/>
                  </a:lnTo>
                  <a:lnTo>
                    <a:pt x="1008" y="522"/>
                  </a:lnTo>
                  <a:lnTo>
                    <a:pt x="1004" y="526"/>
                  </a:lnTo>
                  <a:lnTo>
                    <a:pt x="1000" y="540"/>
                  </a:lnTo>
                  <a:lnTo>
                    <a:pt x="996" y="546"/>
                  </a:lnTo>
                  <a:lnTo>
                    <a:pt x="992" y="548"/>
                  </a:lnTo>
                  <a:lnTo>
                    <a:pt x="988" y="546"/>
                  </a:lnTo>
                  <a:lnTo>
                    <a:pt x="982" y="542"/>
                  </a:lnTo>
                  <a:lnTo>
                    <a:pt x="974" y="534"/>
                  </a:lnTo>
                  <a:lnTo>
                    <a:pt x="972" y="530"/>
                  </a:lnTo>
                  <a:lnTo>
                    <a:pt x="972" y="526"/>
                  </a:lnTo>
                  <a:lnTo>
                    <a:pt x="974" y="524"/>
                  </a:lnTo>
                  <a:lnTo>
                    <a:pt x="982" y="514"/>
                  </a:lnTo>
                  <a:lnTo>
                    <a:pt x="986" y="508"/>
                  </a:lnTo>
                  <a:lnTo>
                    <a:pt x="988" y="502"/>
                  </a:lnTo>
                  <a:lnTo>
                    <a:pt x="988" y="498"/>
                  </a:lnTo>
                  <a:lnTo>
                    <a:pt x="986" y="492"/>
                  </a:lnTo>
                  <a:lnTo>
                    <a:pt x="980" y="486"/>
                  </a:lnTo>
                  <a:lnTo>
                    <a:pt x="976" y="484"/>
                  </a:lnTo>
                  <a:lnTo>
                    <a:pt x="964" y="480"/>
                  </a:lnTo>
                  <a:lnTo>
                    <a:pt x="950" y="480"/>
                  </a:lnTo>
                  <a:lnTo>
                    <a:pt x="946" y="480"/>
                  </a:lnTo>
                  <a:lnTo>
                    <a:pt x="944" y="480"/>
                  </a:lnTo>
                  <a:lnTo>
                    <a:pt x="942" y="482"/>
                  </a:lnTo>
                  <a:lnTo>
                    <a:pt x="942" y="484"/>
                  </a:lnTo>
                  <a:lnTo>
                    <a:pt x="942" y="488"/>
                  </a:lnTo>
                  <a:lnTo>
                    <a:pt x="944" y="492"/>
                  </a:lnTo>
                  <a:lnTo>
                    <a:pt x="948" y="500"/>
                  </a:lnTo>
                  <a:lnTo>
                    <a:pt x="948" y="508"/>
                  </a:lnTo>
                  <a:lnTo>
                    <a:pt x="948" y="520"/>
                  </a:lnTo>
                  <a:lnTo>
                    <a:pt x="950" y="528"/>
                  </a:lnTo>
                  <a:lnTo>
                    <a:pt x="952" y="536"/>
                  </a:lnTo>
                  <a:lnTo>
                    <a:pt x="954" y="542"/>
                  </a:lnTo>
                  <a:lnTo>
                    <a:pt x="956" y="548"/>
                  </a:lnTo>
                  <a:lnTo>
                    <a:pt x="956" y="556"/>
                  </a:lnTo>
                  <a:lnTo>
                    <a:pt x="952" y="570"/>
                  </a:lnTo>
                  <a:lnTo>
                    <a:pt x="948" y="574"/>
                  </a:lnTo>
                  <a:lnTo>
                    <a:pt x="946" y="574"/>
                  </a:lnTo>
                  <a:lnTo>
                    <a:pt x="944" y="572"/>
                  </a:lnTo>
                  <a:lnTo>
                    <a:pt x="938" y="570"/>
                  </a:lnTo>
                  <a:lnTo>
                    <a:pt x="930" y="568"/>
                  </a:lnTo>
                  <a:lnTo>
                    <a:pt x="928" y="568"/>
                  </a:lnTo>
                  <a:lnTo>
                    <a:pt x="920" y="570"/>
                  </a:lnTo>
                  <a:lnTo>
                    <a:pt x="914" y="572"/>
                  </a:lnTo>
                  <a:lnTo>
                    <a:pt x="902" y="582"/>
                  </a:lnTo>
                  <a:lnTo>
                    <a:pt x="896" y="584"/>
                  </a:lnTo>
                  <a:lnTo>
                    <a:pt x="884" y="592"/>
                  </a:lnTo>
                  <a:lnTo>
                    <a:pt x="882" y="598"/>
                  </a:lnTo>
                  <a:lnTo>
                    <a:pt x="884" y="604"/>
                  </a:lnTo>
                  <a:lnTo>
                    <a:pt x="896" y="630"/>
                  </a:lnTo>
                  <a:lnTo>
                    <a:pt x="898" y="634"/>
                  </a:lnTo>
                  <a:lnTo>
                    <a:pt x="894" y="632"/>
                  </a:lnTo>
                  <a:lnTo>
                    <a:pt x="888" y="628"/>
                  </a:lnTo>
                  <a:lnTo>
                    <a:pt x="882" y="626"/>
                  </a:lnTo>
                  <a:lnTo>
                    <a:pt x="868" y="626"/>
                  </a:lnTo>
                  <a:lnTo>
                    <a:pt x="860" y="626"/>
                  </a:lnTo>
                  <a:lnTo>
                    <a:pt x="854" y="624"/>
                  </a:lnTo>
                  <a:lnTo>
                    <a:pt x="848" y="620"/>
                  </a:lnTo>
                  <a:lnTo>
                    <a:pt x="842" y="620"/>
                  </a:lnTo>
                  <a:lnTo>
                    <a:pt x="840" y="622"/>
                  </a:lnTo>
                  <a:lnTo>
                    <a:pt x="842" y="630"/>
                  </a:lnTo>
                  <a:lnTo>
                    <a:pt x="842" y="632"/>
                  </a:lnTo>
                  <a:lnTo>
                    <a:pt x="836" y="630"/>
                  </a:lnTo>
                  <a:lnTo>
                    <a:pt x="818" y="624"/>
                  </a:lnTo>
                  <a:lnTo>
                    <a:pt x="812" y="622"/>
                  </a:lnTo>
                  <a:lnTo>
                    <a:pt x="808" y="616"/>
                  </a:lnTo>
                  <a:lnTo>
                    <a:pt x="804" y="604"/>
                  </a:lnTo>
                  <a:lnTo>
                    <a:pt x="804" y="598"/>
                  </a:lnTo>
                  <a:lnTo>
                    <a:pt x="806" y="592"/>
                  </a:lnTo>
                  <a:lnTo>
                    <a:pt x="810" y="588"/>
                  </a:lnTo>
                  <a:lnTo>
                    <a:pt x="812" y="582"/>
                  </a:lnTo>
                  <a:lnTo>
                    <a:pt x="810" y="578"/>
                  </a:lnTo>
                  <a:lnTo>
                    <a:pt x="804" y="574"/>
                  </a:lnTo>
                  <a:lnTo>
                    <a:pt x="800" y="572"/>
                  </a:lnTo>
                  <a:lnTo>
                    <a:pt x="786" y="562"/>
                  </a:lnTo>
                  <a:lnTo>
                    <a:pt x="778" y="554"/>
                  </a:lnTo>
                  <a:lnTo>
                    <a:pt x="768" y="544"/>
                  </a:lnTo>
                  <a:lnTo>
                    <a:pt x="766" y="540"/>
                  </a:lnTo>
                  <a:lnTo>
                    <a:pt x="768" y="538"/>
                  </a:lnTo>
                  <a:lnTo>
                    <a:pt x="772" y="540"/>
                  </a:lnTo>
                  <a:lnTo>
                    <a:pt x="778" y="544"/>
                  </a:lnTo>
                  <a:lnTo>
                    <a:pt x="784" y="546"/>
                  </a:lnTo>
                  <a:lnTo>
                    <a:pt x="790" y="548"/>
                  </a:lnTo>
                  <a:lnTo>
                    <a:pt x="794" y="548"/>
                  </a:lnTo>
                  <a:lnTo>
                    <a:pt x="800" y="550"/>
                  </a:lnTo>
                  <a:lnTo>
                    <a:pt x="806" y="556"/>
                  </a:lnTo>
                  <a:lnTo>
                    <a:pt x="808" y="560"/>
                  </a:lnTo>
                  <a:lnTo>
                    <a:pt x="812" y="566"/>
                  </a:lnTo>
                  <a:lnTo>
                    <a:pt x="820" y="570"/>
                  </a:lnTo>
                  <a:lnTo>
                    <a:pt x="842" y="576"/>
                  </a:lnTo>
                  <a:lnTo>
                    <a:pt x="850" y="576"/>
                  </a:lnTo>
                  <a:lnTo>
                    <a:pt x="858" y="576"/>
                  </a:lnTo>
                  <a:lnTo>
                    <a:pt x="872" y="570"/>
                  </a:lnTo>
                  <a:lnTo>
                    <a:pt x="888" y="564"/>
                  </a:lnTo>
                  <a:lnTo>
                    <a:pt x="892" y="562"/>
                  </a:lnTo>
                  <a:lnTo>
                    <a:pt x="898" y="558"/>
                  </a:lnTo>
                  <a:lnTo>
                    <a:pt x="902" y="550"/>
                  </a:lnTo>
                  <a:lnTo>
                    <a:pt x="906" y="536"/>
                  </a:lnTo>
                  <a:lnTo>
                    <a:pt x="906" y="530"/>
                  </a:lnTo>
                  <a:lnTo>
                    <a:pt x="904" y="524"/>
                  </a:lnTo>
                  <a:lnTo>
                    <a:pt x="876" y="496"/>
                  </a:lnTo>
                  <a:lnTo>
                    <a:pt x="864" y="486"/>
                  </a:lnTo>
                  <a:lnTo>
                    <a:pt x="848" y="474"/>
                  </a:lnTo>
                  <a:lnTo>
                    <a:pt x="836" y="464"/>
                  </a:lnTo>
                  <a:lnTo>
                    <a:pt x="826" y="456"/>
                  </a:lnTo>
                  <a:lnTo>
                    <a:pt x="820" y="452"/>
                  </a:lnTo>
                  <a:lnTo>
                    <a:pt x="814" y="448"/>
                  </a:lnTo>
                  <a:lnTo>
                    <a:pt x="800" y="444"/>
                  </a:lnTo>
                  <a:lnTo>
                    <a:pt x="788" y="440"/>
                  </a:lnTo>
                  <a:lnTo>
                    <a:pt x="784" y="438"/>
                  </a:lnTo>
                  <a:lnTo>
                    <a:pt x="782" y="432"/>
                  </a:lnTo>
                  <a:lnTo>
                    <a:pt x="782" y="430"/>
                  </a:lnTo>
                  <a:lnTo>
                    <a:pt x="782" y="426"/>
                  </a:lnTo>
                  <a:lnTo>
                    <a:pt x="780" y="424"/>
                  </a:lnTo>
                  <a:lnTo>
                    <a:pt x="778" y="422"/>
                  </a:lnTo>
                  <a:lnTo>
                    <a:pt x="774" y="422"/>
                  </a:lnTo>
                  <a:lnTo>
                    <a:pt x="770" y="422"/>
                  </a:lnTo>
                  <a:lnTo>
                    <a:pt x="754" y="422"/>
                  </a:lnTo>
                  <a:lnTo>
                    <a:pt x="752" y="422"/>
                  </a:lnTo>
                  <a:lnTo>
                    <a:pt x="742" y="422"/>
                  </a:lnTo>
                  <a:lnTo>
                    <a:pt x="738" y="416"/>
                  </a:lnTo>
                  <a:lnTo>
                    <a:pt x="734" y="412"/>
                  </a:lnTo>
                  <a:lnTo>
                    <a:pt x="734" y="406"/>
                  </a:lnTo>
                  <a:lnTo>
                    <a:pt x="736" y="394"/>
                  </a:lnTo>
                  <a:lnTo>
                    <a:pt x="740" y="390"/>
                  </a:lnTo>
                  <a:lnTo>
                    <a:pt x="740" y="384"/>
                  </a:lnTo>
                  <a:lnTo>
                    <a:pt x="738" y="378"/>
                  </a:lnTo>
                  <a:lnTo>
                    <a:pt x="728" y="368"/>
                  </a:lnTo>
                  <a:lnTo>
                    <a:pt x="720" y="358"/>
                  </a:lnTo>
                  <a:lnTo>
                    <a:pt x="716" y="358"/>
                  </a:lnTo>
                  <a:lnTo>
                    <a:pt x="714" y="356"/>
                  </a:lnTo>
                  <a:lnTo>
                    <a:pt x="710" y="358"/>
                  </a:lnTo>
                  <a:lnTo>
                    <a:pt x="708" y="358"/>
                  </a:lnTo>
                  <a:lnTo>
                    <a:pt x="700" y="368"/>
                  </a:lnTo>
                  <a:lnTo>
                    <a:pt x="694" y="370"/>
                  </a:lnTo>
                  <a:lnTo>
                    <a:pt x="686" y="370"/>
                  </a:lnTo>
                  <a:lnTo>
                    <a:pt x="682" y="366"/>
                  </a:lnTo>
                  <a:lnTo>
                    <a:pt x="670" y="362"/>
                  </a:lnTo>
                  <a:lnTo>
                    <a:pt x="656" y="362"/>
                  </a:lnTo>
                  <a:lnTo>
                    <a:pt x="654" y="362"/>
                  </a:lnTo>
                  <a:lnTo>
                    <a:pt x="646" y="364"/>
                  </a:lnTo>
                  <a:lnTo>
                    <a:pt x="640" y="368"/>
                  </a:lnTo>
                  <a:lnTo>
                    <a:pt x="632" y="376"/>
                  </a:lnTo>
                  <a:lnTo>
                    <a:pt x="626" y="380"/>
                  </a:lnTo>
                  <a:lnTo>
                    <a:pt x="620" y="382"/>
                  </a:lnTo>
                  <a:lnTo>
                    <a:pt x="610" y="382"/>
                  </a:lnTo>
                  <a:lnTo>
                    <a:pt x="606" y="384"/>
                  </a:lnTo>
                  <a:lnTo>
                    <a:pt x="600" y="388"/>
                  </a:lnTo>
                  <a:lnTo>
                    <a:pt x="596" y="390"/>
                  </a:lnTo>
                  <a:lnTo>
                    <a:pt x="592" y="392"/>
                  </a:lnTo>
                  <a:lnTo>
                    <a:pt x="586" y="394"/>
                  </a:lnTo>
                  <a:lnTo>
                    <a:pt x="584" y="400"/>
                  </a:lnTo>
                  <a:lnTo>
                    <a:pt x="578" y="414"/>
                  </a:lnTo>
                  <a:lnTo>
                    <a:pt x="574" y="420"/>
                  </a:lnTo>
                  <a:lnTo>
                    <a:pt x="568" y="422"/>
                  </a:lnTo>
                  <a:lnTo>
                    <a:pt x="556" y="422"/>
                  </a:lnTo>
                  <a:lnTo>
                    <a:pt x="548" y="424"/>
                  </a:lnTo>
                  <a:lnTo>
                    <a:pt x="544" y="430"/>
                  </a:lnTo>
                  <a:lnTo>
                    <a:pt x="540" y="444"/>
                  </a:lnTo>
                  <a:lnTo>
                    <a:pt x="538" y="456"/>
                  </a:lnTo>
                  <a:lnTo>
                    <a:pt x="534" y="460"/>
                  </a:lnTo>
                  <a:lnTo>
                    <a:pt x="530" y="460"/>
                  </a:lnTo>
                  <a:lnTo>
                    <a:pt x="526" y="460"/>
                  </a:lnTo>
                  <a:lnTo>
                    <a:pt x="518" y="462"/>
                  </a:lnTo>
                  <a:lnTo>
                    <a:pt x="514" y="468"/>
                  </a:lnTo>
                  <a:lnTo>
                    <a:pt x="502" y="484"/>
                  </a:lnTo>
                  <a:lnTo>
                    <a:pt x="500" y="490"/>
                  </a:lnTo>
                  <a:lnTo>
                    <a:pt x="498" y="498"/>
                  </a:lnTo>
                  <a:lnTo>
                    <a:pt x="498" y="502"/>
                  </a:lnTo>
                  <a:lnTo>
                    <a:pt x="496" y="510"/>
                  </a:lnTo>
                  <a:lnTo>
                    <a:pt x="494" y="516"/>
                  </a:lnTo>
                  <a:lnTo>
                    <a:pt x="482" y="532"/>
                  </a:lnTo>
                  <a:lnTo>
                    <a:pt x="474" y="546"/>
                  </a:lnTo>
                  <a:lnTo>
                    <a:pt x="472" y="552"/>
                  </a:lnTo>
                  <a:lnTo>
                    <a:pt x="466" y="566"/>
                  </a:lnTo>
                  <a:lnTo>
                    <a:pt x="462" y="570"/>
                  </a:lnTo>
                  <a:lnTo>
                    <a:pt x="456" y="586"/>
                  </a:lnTo>
                  <a:lnTo>
                    <a:pt x="452" y="590"/>
                  </a:lnTo>
                  <a:lnTo>
                    <a:pt x="444" y="604"/>
                  </a:lnTo>
                  <a:lnTo>
                    <a:pt x="424" y="640"/>
                  </a:lnTo>
                  <a:lnTo>
                    <a:pt x="414" y="652"/>
                  </a:lnTo>
                  <a:lnTo>
                    <a:pt x="406" y="660"/>
                  </a:lnTo>
                  <a:lnTo>
                    <a:pt x="392" y="670"/>
                  </a:lnTo>
                  <a:lnTo>
                    <a:pt x="388" y="672"/>
                  </a:lnTo>
                  <a:lnTo>
                    <a:pt x="382" y="676"/>
                  </a:lnTo>
                  <a:lnTo>
                    <a:pt x="376" y="682"/>
                  </a:lnTo>
                  <a:lnTo>
                    <a:pt x="374" y="688"/>
                  </a:lnTo>
                  <a:lnTo>
                    <a:pt x="366" y="700"/>
                  </a:lnTo>
                  <a:lnTo>
                    <a:pt x="356" y="710"/>
                  </a:lnTo>
                  <a:lnTo>
                    <a:pt x="352" y="714"/>
                  </a:lnTo>
                  <a:lnTo>
                    <a:pt x="350" y="720"/>
                  </a:lnTo>
                  <a:lnTo>
                    <a:pt x="346" y="732"/>
                  </a:lnTo>
                  <a:lnTo>
                    <a:pt x="344" y="736"/>
                  </a:lnTo>
                  <a:lnTo>
                    <a:pt x="342" y="744"/>
                  </a:lnTo>
                  <a:lnTo>
                    <a:pt x="340" y="752"/>
                  </a:lnTo>
                  <a:lnTo>
                    <a:pt x="340" y="756"/>
                  </a:lnTo>
                  <a:lnTo>
                    <a:pt x="342" y="764"/>
                  </a:lnTo>
                  <a:lnTo>
                    <a:pt x="344" y="770"/>
                  </a:lnTo>
                  <a:lnTo>
                    <a:pt x="346" y="776"/>
                  </a:lnTo>
                  <a:lnTo>
                    <a:pt x="348" y="784"/>
                  </a:lnTo>
                  <a:lnTo>
                    <a:pt x="350" y="792"/>
                  </a:lnTo>
                  <a:lnTo>
                    <a:pt x="350" y="794"/>
                  </a:lnTo>
                  <a:lnTo>
                    <a:pt x="350" y="810"/>
                  </a:lnTo>
                  <a:lnTo>
                    <a:pt x="350" y="814"/>
                  </a:lnTo>
                  <a:lnTo>
                    <a:pt x="352" y="820"/>
                  </a:lnTo>
                  <a:lnTo>
                    <a:pt x="356" y="826"/>
                  </a:lnTo>
                  <a:lnTo>
                    <a:pt x="364" y="828"/>
                  </a:lnTo>
                  <a:lnTo>
                    <a:pt x="370" y="830"/>
                  </a:lnTo>
                  <a:lnTo>
                    <a:pt x="378" y="832"/>
                  </a:lnTo>
                  <a:lnTo>
                    <a:pt x="382" y="832"/>
                  </a:lnTo>
                  <a:lnTo>
                    <a:pt x="390" y="830"/>
                  </a:lnTo>
                  <a:lnTo>
                    <a:pt x="396" y="828"/>
                  </a:lnTo>
                  <a:lnTo>
                    <a:pt x="412" y="816"/>
                  </a:lnTo>
                  <a:lnTo>
                    <a:pt x="424" y="808"/>
                  </a:lnTo>
                  <a:lnTo>
                    <a:pt x="430" y="804"/>
                  </a:lnTo>
                  <a:lnTo>
                    <a:pt x="434" y="802"/>
                  </a:lnTo>
                  <a:lnTo>
                    <a:pt x="438" y="800"/>
                  </a:lnTo>
                  <a:lnTo>
                    <a:pt x="442" y="796"/>
                  </a:lnTo>
                  <a:lnTo>
                    <a:pt x="446" y="790"/>
                  </a:lnTo>
                  <a:lnTo>
                    <a:pt x="454" y="778"/>
                  </a:lnTo>
                  <a:lnTo>
                    <a:pt x="458" y="774"/>
                  </a:lnTo>
                  <a:lnTo>
                    <a:pt x="454" y="778"/>
                  </a:lnTo>
                  <a:lnTo>
                    <a:pt x="446" y="790"/>
                  </a:lnTo>
                  <a:lnTo>
                    <a:pt x="442" y="796"/>
                  </a:lnTo>
                  <a:lnTo>
                    <a:pt x="440" y="808"/>
                  </a:lnTo>
                  <a:lnTo>
                    <a:pt x="442" y="820"/>
                  </a:lnTo>
                  <a:lnTo>
                    <a:pt x="446" y="826"/>
                  </a:lnTo>
                  <a:lnTo>
                    <a:pt x="448" y="832"/>
                  </a:lnTo>
                  <a:lnTo>
                    <a:pt x="448" y="840"/>
                  </a:lnTo>
                  <a:lnTo>
                    <a:pt x="448" y="844"/>
                  </a:lnTo>
                  <a:lnTo>
                    <a:pt x="452" y="860"/>
                  </a:lnTo>
                  <a:lnTo>
                    <a:pt x="456" y="874"/>
                  </a:lnTo>
                  <a:lnTo>
                    <a:pt x="458" y="886"/>
                  </a:lnTo>
                  <a:lnTo>
                    <a:pt x="460" y="892"/>
                  </a:lnTo>
                  <a:lnTo>
                    <a:pt x="464" y="896"/>
                  </a:lnTo>
                  <a:lnTo>
                    <a:pt x="466" y="902"/>
                  </a:lnTo>
                  <a:lnTo>
                    <a:pt x="468" y="906"/>
                  </a:lnTo>
                  <a:lnTo>
                    <a:pt x="470" y="910"/>
                  </a:lnTo>
                  <a:lnTo>
                    <a:pt x="476" y="910"/>
                  </a:lnTo>
                  <a:lnTo>
                    <a:pt x="480" y="910"/>
                  </a:lnTo>
                  <a:lnTo>
                    <a:pt x="486" y="910"/>
                  </a:lnTo>
                  <a:lnTo>
                    <a:pt x="488" y="906"/>
                  </a:lnTo>
                  <a:lnTo>
                    <a:pt x="490" y="902"/>
                  </a:lnTo>
                  <a:lnTo>
                    <a:pt x="492" y="896"/>
                  </a:lnTo>
                  <a:lnTo>
                    <a:pt x="498" y="892"/>
                  </a:lnTo>
                  <a:lnTo>
                    <a:pt x="506" y="892"/>
                  </a:lnTo>
                  <a:lnTo>
                    <a:pt x="510" y="892"/>
                  </a:lnTo>
                  <a:lnTo>
                    <a:pt x="516" y="890"/>
                  </a:lnTo>
                  <a:lnTo>
                    <a:pt x="520" y="884"/>
                  </a:lnTo>
                  <a:lnTo>
                    <a:pt x="524" y="878"/>
                  </a:lnTo>
                  <a:lnTo>
                    <a:pt x="526" y="872"/>
                  </a:lnTo>
                  <a:lnTo>
                    <a:pt x="528" y="864"/>
                  </a:lnTo>
                  <a:lnTo>
                    <a:pt x="528" y="840"/>
                  </a:lnTo>
                  <a:lnTo>
                    <a:pt x="528" y="824"/>
                  </a:lnTo>
                  <a:lnTo>
                    <a:pt x="528" y="822"/>
                  </a:lnTo>
                  <a:lnTo>
                    <a:pt x="528" y="816"/>
                  </a:lnTo>
                  <a:lnTo>
                    <a:pt x="532" y="814"/>
                  </a:lnTo>
                  <a:lnTo>
                    <a:pt x="544" y="810"/>
                  </a:lnTo>
                  <a:lnTo>
                    <a:pt x="550" y="806"/>
                  </a:lnTo>
                  <a:lnTo>
                    <a:pt x="554" y="802"/>
                  </a:lnTo>
                  <a:lnTo>
                    <a:pt x="556" y="796"/>
                  </a:lnTo>
                  <a:lnTo>
                    <a:pt x="556" y="792"/>
                  </a:lnTo>
                  <a:lnTo>
                    <a:pt x="556" y="784"/>
                  </a:lnTo>
                  <a:lnTo>
                    <a:pt x="554" y="776"/>
                  </a:lnTo>
                  <a:lnTo>
                    <a:pt x="550" y="772"/>
                  </a:lnTo>
                  <a:lnTo>
                    <a:pt x="542" y="760"/>
                  </a:lnTo>
                  <a:lnTo>
                    <a:pt x="538" y="754"/>
                  </a:lnTo>
                  <a:lnTo>
                    <a:pt x="536" y="746"/>
                  </a:lnTo>
                  <a:lnTo>
                    <a:pt x="536" y="732"/>
                  </a:lnTo>
                  <a:lnTo>
                    <a:pt x="536" y="716"/>
                  </a:lnTo>
                  <a:lnTo>
                    <a:pt x="536" y="704"/>
                  </a:lnTo>
                  <a:lnTo>
                    <a:pt x="538" y="696"/>
                  </a:lnTo>
                  <a:lnTo>
                    <a:pt x="542" y="690"/>
                  </a:lnTo>
                  <a:lnTo>
                    <a:pt x="550" y="682"/>
                  </a:lnTo>
                  <a:lnTo>
                    <a:pt x="562" y="672"/>
                  </a:lnTo>
                  <a:lnTo>
                    <a:pt x="572" y="662"/>
                  </a:lnTo>
                  <a:lnTo>
                    <a:pt x="590" y="652"/>
                  </a:lnTo>
                  <a:lnTo>
                    <a:pt x="594" y="646"/>
                  </a:lnTo>
                  <a:lnTo>
                    <a:pt x="600" y="640"/>
                  </a:lnTo>
                  <a:lnTo>
                    <a:pt x="602" y="634"/>
                  </a:lnTo>
                  <a:lnTo>
                    <a:pt x="604" y="628"/>
                  </a:lnTo>
                  <a:lnTo>
                    <a:pt x="600" y="622"/>
                  </a:lnTo>
                  <a:lnTo>
                    <a:pt x="598" y="616"/>
                  </a:lnTo>
                  <a:lnTo>
                    <a:pt x="600" y="610"/>
                  </a:lnTo>
                  <a:lnTo>
                    <a:pt x="602" y="604"/>
                  </a:lnTo>
                  <a:lnTo>
                    <a:pt x="612" y="592"/>
                  </a:lnTo>
                  <a:lnTo>
                    <a:pt x="620" y="584"/>
                  </a:lnTo>
                  <a:lnTo>
                    <a:pt x="624" y="580"/>
                  </a:lnTo>
                  <a:lnTo>
                    <a:pt x="630" y="576"/>
                  </a:lnTo>
                  <a:lnTo>
                    <a:pt x="634" y="578"/>
                  </a:lnTo>
                  <a:lnTo>
                    <a:pt x="640" y="582"/>
                  </a:lnTo>
                  <a:lnTo>
                    <a:pt x="648" y="594"/>
                  </a:lnTo>
                  <a:lnTo>
                    <a:pt x="652" y="600"/>
                  </a:lnTo>
                  <a:lnTo>
                    <a:pt x="652" y="608"/>
                  </a:lnTo>
                  <a:lnTo>
                    <a:pt x="652" y="614"/>
                  </a:lnTo>
                  <a:lnTo>
                    <a:pt x="638" y="640"/>
                  </a:lnTo>
                  <a:lnTo>
                    <a:pt x="634" y="646"/>
                  </a:lnTo>
                  <a:lnTo>
                    <a:pt x="628" y="650"/>
                  </a:lnTo>
                  <a:lnTo>
                    <a:pt x="612" y="662"/>
                  </a:lnTo>
                  <a:lnTo>
                    <a:pt x="606" y="666"/>
                  </a:lnTo>
                  <a:lnTo>
                    <a:pt x="604" y="674"/>
                  </a:lnTo>
                  <a:lnTo>
                    <a:pt x="598" y="688"/>
                  </a:lnTo>
                  <a:lnTo>
                    <a:pt x="596" y="704"/>
                  </a:lnTo>
                  <a:lnTo>
                    <a:pt x="596" y="726"/>
                  </a:lnTo>
                  <a:lnTo>
                    <a:pt x="596" y="734"/>
                  </a:lnTo>
                  <a:lnTo>
                    <a:pt x="600" y="742"/>
                  </a:lnTo>
                  <a:lnTo>
                    <a:pt x="602" y="748"/>
                  </a:lnTo>
                  <a:lnTo>
                    <a:pt x="610" y="760"/>
                  </a:lnTo>
                  <a:lnTo>
                    <a:pt x="620" y="770"/>
                  </a:lnTo>
                  <a:lnTo>
                    <a:pt x="626" y="772"/>
                  </a:lnTo>
                  <a:lnTo>
                    <a:pt x="634" y="774"/>
                  </a:lnTo>
                  <a:lnTo>
                    <a:pt x="636" y="774"/>
                  </a:lnTo>
                  <a:lnTo>
                    <a:pt x="652" y="772"/>
                  </a:lnTo>
                  <a:lnTo>
                    <a:pt x="676" y="766"/>
                  </a:lnTo>
                  <a:lnTo>
                    <a:pt x="690" y="764"/>
                  </a:lnTo>
                  <a:lnTo>
                    <a:pt x="694" y="764"/>
                  </a:lnTo>
                  <a:lnTo>
                    <a:pt x="700" y="764"/>
                  </a:lnTo>
                  <a:lnTo>
                    <a:pt x="704" y="766"/>
                  </a:lnTo>
                  <a:lnTo>
                    <a:pt x="708" y="768"/>
                  </a:lnTo>
                  <a:lnTo>
                    <a:pt x="712" y="774"/>
                  </a:lnTo>
                  <a:lnTo>
                    <a:pt x="714" y="782"/>
                  </a:lnTo>
                  <a:lnTo>
                    <a:pt x="714" y="786"/>
                  </a:lnTo>
                  <a:lnTo>
                    <a:pt x="712" y="790"/>
                  </a:lnTo>
                  <a:lnTo>
                    <a:pt x="708" y="794"/>
                  </a:lnTo>
                  <a:lnTo>
                    <a:pt x="704" y="794"/>
                  </a:lnTo>
                  <a:lnTo>
                    <a:pt x="700" y="792"/>
                  </a:lnTo>
                  <a:lnTo>
                    <a:pt x="686" y="792"/>
                  </a:lnTo>
                  <a:lnTo>
                    <a:pt x="672" y="792"/>
                  </a:lnTo>
                  <a:lnTo>
                    <a:pt x="658" y="796"/>
                  </a:lnTo>
                  <a:lnTo>
                    <a:pt x="642" y="800"/>
                  </a:lnTo>
                  <a:lnTo>
                    <a:pt x="638" y="804"/>
                  </a:lnTo>
                  <a:lnTo>
                    <a:pt x="634" y="808"/>
                  </a:lnTo>
                  <a:lnTo>
                    <a:pt x="634" y="818"/>
                  </a:lnTo>
                  <a:lnTo>
                    <a:pt x="636" y="822"/>
                  </a:lnTo>
                  <a:lnTo>
                    <a:pt x="640" y="828"/>
                  </a:lnTo>
                  <a:lnTo>
                    <a:pt x="644" y="832"/>
                  </a:lnTo>
                  <a:lnTo>
                    <a:pt x="644" y="838"/>
                  </a:lnTo>
                  <a:lnTo>
                    <a:pt x="644" y="842"/>
                  </a:lnTo>
                  <a:lnTo>
                    <a:pt x="642" y="850"/>
                  </a:lnTo>
                  <a:lnTo>
                    <a:pt x="638" y="854"/>
                  </a:lnTo>
                  <a:lnTo>
                    <a:pt x="636" y="856"/>
                  </a:lnTo>
                  <a:lnTo>
                    <a:pt x="634" y="858"/>
                  </a:lnTo>
                  <a:lnTo>
                    <a:pt x="632" y="858"/>
                  </a:lnTo>
                  <a:lnTo>
                    <a:pt x="628" y="858"/>
                  </a:lnTo>
                  <a:lnTo>
                    <a:pt x="622" y="856"/>
                  </a:lnTo>
                  <a:lnTo>
                    <a:pt x="610" y="852"/>
                  </a:lnTo>
                  <a:lnTo>
                    <a:pt x="606" y="854"/>
                  </a:lnTo>
                  <a:lnTo>
                    <a:pt x="602" y="858"/>
                  </a:lnTo>
                  <a:lnTo>
                    <a:pt x="600" y="864"/>
                  </a:lnTo>
                  <a:lnTo>
                    <a:pt x="598" y="872"/>
                  </a:lnTo>
                  <a:lnTo>
                    <a:pt x="596" y="880"/>
                  </a:lnTo>
                  <a:lnTo>
                    <a:pt x="596" y="882"/>
                  </a:lnTo>
                  <a:lnTo>
                    <a:pt x="596" y="890"/>
                  </a:lnTo>
                  <a:lnTo>
                    <a:pt x="596" y="898"/>
                  </a:lnTo>
                  <a:lnTo>
                    <a:pt x="596" y="902"/>
                  </a:lnTo>
                  <a:lnTo>
                    <a:pt x="596" y="910"/>
                  </a:lnTo>
                  <a:lnTo>
                    <a:pt x="592" y="910"/>
                  </a:lnTo>
                  <a:lnTo>
                    <a:pt x="586" y="912"/>
                  </a:lnTo>
                  <a:lnTo>
                    <a:pt x="582" y="916"/>
                  </a:lnTo>
                  <a:lnTo>
                    <a:pt x="578" y="920"/>
                  </a:lnTo>
                  <a:lnTo>
                    <a:pt x="576" y="926"/>
                  </a:lnTo>
                  <a:lnTo>
                    <a:pt x="574" y="928"/>
                  </a:lnTo>
                  <a:lnTo>
                    <a:pt x="568" y="930"/>
                  </a:lnTo>
                  <a:lnTo>
                    <a:pt x="564" y="930"/>
                  </a:lnTo>
                  <a:lnTo>
                    <a:pt x="552" y="930"/>
                  </a:lnTo>
                  <a:lnTo>
                    <a:pt x="540" y="932"/>
                  </a:lnTo>
                  <a:lnTo>
                    <a:pt x="516" y="938"/>
                  </a:lnTo>
                  <a:lnTo>
                    <a:pt x="500" y="944"/>
                  </a:lnTo>
                  <a:lnTo>
                    <a:pt x="496" y="946"/>
                  </a:lnTo>
                  <a:lnTo>
                    <a:pt x="488" y="950"/>
                  </a:lnTo>
                  <a:lnTo>
                    <a:pt x="482" y="946"/>
                  </a:lnTo>
                  <a:lnTo>
                    <a:pt x="476" y="944"/>
                  </a:lnTo>
                  <a:lnTo>
                    <a:pt x="468" y="942"/>
                  </a:lnTo>
                  <a:lnTo>
                    <a:pt x="462" y="944"/>
                  </a:lnTo>
                  <a:lnTo>
                    <a:pt x="456" y="946"/>
                  </a:lnTo>
                  <a:lnTo>
                    <a:pt x="450" y="946"/>
                  </a:lnTo>
                  <a:lnTo>
                    <a:pt x="444" y="944"/>
                  </a:lnTo>
                  <a:lnTo>
                    <a:pt x="440" y="940"/>
                  </a:lnTo>
                  <a:lnTo>
                    <a:pt x="440" y="934"/>
                  </a:lnTo>
                  <a:lnTo>
                    <a:pt x="436" y="932"/>
                  </a:lnTo>
                  <a:lnTo>
                    <a:pt x="432" y="930"/>
                  </a:lnTo>
                  <a:lnTo>
                    <a:pt x="428" y="930"/>
                  </a:lnTo>
                  <a:lnTo>
                    <a:pt x="424" y="930"/>
                  </a:lnTo>
                  <a:lnTo>
                    <a:pt x="422" y="928"/>
                  </a:lnTo>
                  <a:lnTo>
                    <a:pt x="420" y="924"/>
                  </a:lnTo>
                  <a:lnTo>
                    <a:pt x="420" y="922"/>
                  </a:lnTo>
                  <a:lnTo>
                    <a:pt x="420" y="918"/>
                  </a:lnTo>
                  <a:lnTo>
                    <a:pt x="420" y="902"/>
                  </a:lnTo>
                  <a:lnTo>
                    <a:pt x="420" y="898"/>
                  </a:lnTo>
                  <a:lnTo>
                    <a:pt x="422" y="894"/>
                  </a:lnTo>
                  <a:lnTo>
                    <a:pt x="424" y="890"/>
                  </a:lnTo>
                  <a:lnTo>
                    <a:pt x="430" y="890"/>
                  </a:lnTo>
                  <a:lnTo>
                    <a:pt x="434" y="886"/>
                  </a:lnTo>
                  <a:lnTo>
                    <a:pt x="436" y="882"/>
                  </a:lnTo>
                  <a:lnTo>
                    <a:pt x="434" y="882"/>
                  </a:lnTo>
                  <a:lnTo>
                    <a:pt x="430" y="880"/>
                  </a:lnTo>
                  <a:lnTo>
                    <a:pt x="430" y="876"/>
                  </a:lnTo>
                  <a:lnTo>
                    <a:pt x="430" y="864"/>
                  </a:lnTo>
                  <a:lnTo>
                    <a:pt x="430" y="860"/>
                  </a:lnTo>
                  <a:lnTo>
                    <a:pt x="428" y="858"/>
                  </a:lnTo>
                  <a:lnTo>
                    <a:pt x="428" y="856"/>
                  </a:lnTo>
                  <a:lnTo>
                    <a:pt x="426" y="854"/>
                  </a:lnTo>
                  <a:lnTo>
                    <a:pt x="422" y="856"/>
                  </a:lnTo>
                  <a:lnTo>
                    <a:pt x="418" y="858"/>
                  </a:lnTo>
                  <a:lnTo>
                    <a:pt x="406" y="862"/>
                  </a:lnTo>
                  <a:lnTo>
                    <a:pt x="400" y="864"/>
                  </a:lnTo>
                  <a:lnTo>
                    <a:pt x="398" y="868"/>
                  </a:lnTo>
                  <a:lnTo>
                    <a:pt x="394" y="874"/>
                  </a:lnTo>
                  <a:lnTo>
                    <a:pt x="392" y="882"/>
                  </a:lnTo>
                  <a:lnTo>
                    <a:pt x="392" y="890"/>
                  </a:lnTo>
                  <a:lnTo>
                    <a:pt x="392" y="892"/>
                  </a:lnTo>
                  <a:lnTo>
                    <a:pt x="392" y="900"/>
                  </a:lnTo>
                  <a:lnTo>
                    <a:pt x="396" y="906"/>
                  </a:lnTo>
                  <a:lnTo>
                    <a:pt x="404" y="918"/>
                  </a:lnTo>
                  <a:lnTo>
                    <a:pt x="406" y="922"/>
                  </a:lnTo>
                  <a:lnTo>
                    <a:pt x="410" y="930"/>
                  </a:lnTo>
                  <a:lnTo>
                    <a:pt x="406" y="936"/>
                  </a:lnTo>
                  <a:lnTo>
                    <a:pt x="404" y="942"/>
                  </a:lnTo>
                  <a:lnTo>
                    <a:pt x="400" y="954"/>
                  </a:lnTo>
                  <a:lnTo>
                    <a:pt x="398" y="958"/>
                  </a:lnTo>
                  <a:lnTo>
                    <a:pt x="396" y="958"/>
                  </a:lnTo>
                  <a:lnTo>
                    <a:pt x="386" y="958"/>
                  </a:lnTo>
                  <a:lnTo>
                    <a:pt x="380" y="960"/>
                  </a:lnTo>
                  <a:lnTo>
                    <a:pt x="376" y="960"/>
                  </a:lnTo>
                  <a:lnTo>
                    <a:pt x="364" y="964"/>
                  </a:lnTo>
                  <a:lnTo>
                    <a:pt x="358" y="966"/>
                  </a:lnTo>
                  <a:lnTo>
                    <a:pt x="352" y="970"/>
                  </a:lnTo>
                  <a:lnTo>
                    <a:pt x="346" y="976"/>
                  </a:lnTo>
                  <a:lnTo>
                    <a:pt x="336" y="992"/>
                  </a:lnTo>
                  <a:lnTo>
                    <a:pt x="326" y="1004"/>
                  </a:lnTo>
                  <a:lnTo>
                    <a:pt x="320" y="1008"/>
                  </a:lnTo>
                  <a:lnTo>
                    <a:pt x="316" y="1012"/>
                  </a:lnTo>
                  <a:lnTo>
                    <a:pt x="312" y="1018"/>
                  </a:lnTo>
                  <a:lnTo>
                    <a:pt x="306" y="1024"/>
                  </a:lnTo>
                  <a:lnTo>
                    <a:pt x="298" y="1034"/>
                  </a:lnTo>
                  <a:lnTo>
                    <a:pt x="296" y="1040"/>
                  </a:lnTo>
                  <a:lnTo>
                    <a:pt x="292" y="1046"/>
                  </a:lnTo>
                  <a:lnTo>
                    <a:pt x="288" y="1048"/>
                  </a:lnTo>
                  <a:lnTo>
                    <a:pt x="282" y="1050"/>
                  </a:lnTo>
                  <a:lnTo>
                    <a:pt x="278" y="1054"/>
                  </a:lnTo>
                  <a:lnTo>
                    <a:pt x="276" y="1060"/>
                  </a:lnTo>
                  <a:lnTo>
                    <a:pt x="272" y="1064"/>
                  </a:lnTo>
                  <a:lnTo>
                    <a:pt x="264" y="1066"/>
                  </a:lnTo>
                  <a:lnTo>
                    <a:pt x="260" y="1066"/>
                  </a:lnTo>
                  <a:lnTo>
                    <a:pt x="256" y="1066"/>
                  </a:lnTo>
                  <a:lnTo>
                    <a:pt x="252" y="1062"/>
                  </a:lnTo>
                  <a:lnTo>
                    <a:pt x="252" y="1058"/>
                  </a:lnTo>
                  <a:lnTo>
                    <a:pt x="248" y="1058"/>
                  </a:lnTo>
                  <a:lnTo>
                    <a:pt x="244" y="1058"/>
                  </a:lnTo>
                  <a:lnTo>
                    <a:pt x="242" y="1062"/>
                  </a:lnTo>
                  <a:lnTo>
                    <a:pt x="242" y="1072"/>
                  </a:lnTo>
                  <a:lnTo>
                    <a:pt x="242" y="1076"/>
                  </a:lnTo>
                  <a:lnTo>
                    <a:pt x="238" y="1076"/>
                  </a:lnTo>
                  <a:lnTo>
                    <a:pt x="228" y="1076"/>
                  </a:lnTo>
                  <a:lnTo>
                    <a:pt x="218" y="1076"/>
                  </a:lnTo>
                  <a:lnTo>
                    <a:pt x="206" y="1080"/>
                  </a:lnTo>
                  <a:lnTo>
                    <a:pt x="202" y="1082"/>
                  </a:lnTo>
                  <a:lnTo>
                    <a:pt x="196" y="1086"/>
                  </a:lnTo>
                  <a:lnTo>
                    <a:pt x="194" y="1092"/>
                  </a:lnTo>
                  <a:lnTo>
                    <a:pt x="196" y="1096"/>
                  </a:lnTo>
                  <a:lnTo>
                    <a:pt x="202" y="1100"/>
                  </a:lnTo>
                  <a:lnTo>
                    <a:pt x="206" y="1102"/>
                  </a:lnTo>
                  <a:lnTo>
                    <a:pt x="214" y="1106"/>
                  </a:lnTo>
                  <a:lnTo>
                    <a:pt x="222" y="1106"/>
                  </a:lnTo>
                  <a:lnTo>
                    <a:pt x="226" y="1106"/>
                  </a:lnTo>
                  <a:lnTo>
                    <a:pt x="230" y="1108"/>
                  </a:lnTo>
                  <a:lnTo>
                    <a:pt x="234" y="1110"/>
                  </a:lnTo>
                  <a:lnTo>
                    <a:pt x="234" y="1116"/>
                  </a:lnTo>
                  <a:lnTo>
                    <a:pt x="238" y="1120"/>
                  </a:lnTo>
                  <a:lnTo>
                    <a:pt x="242" y="1126"/>
                  </a:lnTo>
                  <a:lnTo>
                    <a:pt x="242" y="1134"/>
                  </a:lnTo>
                  <a:lnTo>
                    <a:pt x="242" y="1138"/>
                  </a:lnTo>
                  <a:lnTo>
                    <a:pt x="244" y="1142"/>
                  </a:lnTo>
                  <a:lnTo>
                    <a:pt x="248" y="1146"/>
                  </a:lnTo>
                  <a:lnTo>
                    <a:pt x="252" y="1148"/>
                  </a:lnTo>
                  <a:lnTo>
                    <a:pt x="252" y="1154"/>
                  </a:lnTo>
                  <a:lnTo>
                    <a:pt x="252" y="1156"/>
                  </a:lnTo>
                  <a:lnTo>
                    <a:pt x="250" y="1172"/>
                  </a:lnTo>
                  <a:lnTo>
                    <a:pt x="244" y="1196"/>
                  </a:lnTo>
                  <a:lnTo>
                    <a:pt x="242" y="1204"/>
                  </a:lnTo>
                  <a:lnTo>
                    <a:pt x="234" y="1202"/>
                  </a:lnTo>
                  <a:lnTo>
                    <a:pt x="192" y="1194"/>
                  </a:lnTo>
                  <a:lnTo>
                    <a:pt x="176" y="1194"/>
                  </a:lnTo>
                  <a:lnTo>
                    <a:pt x="162" y="1194"/>
                  </a:lnTo>
                  <a:lnTo>
                    <a:pt x="150" y="1194"/>
                  </a:lnTo>
                  <a:lnTo>
                    <a:pt x="140" y="1194"/>
                  </a:lnTo>
                  <a:lnTo>
                    <a:pt x="134" y="1196"/>
                  </a:lnTo>
                  <a:lnTo>
                    <a:pt x="130" y="1198"/>
                  </a:lnTo>
                  <a:lnTo>
                    <a:pt x="128" y="1204"/>
                  </a:lnTo>
                  <a:lnTo>
                    <a:pt x="128" y="1212"/>
                  </a:lnTo>
                  <a:lnTo>
                    <a:pt x="132" y="1226"/>
                  </a:lnTo>
                  <a:lnTo>
                    <a:pt x="134" y="1234"/>
                  </a:lnTo>
                  <a:lnTo>
                    <a:pt x="130" y="1234"/>
                  </a:lnTo>
                  <a:lnTo>
                    <a:pt x="128" y="1234"/>
                  </a:lnTo>
                  <a:lnTo>
                    <a:pt x="128" y="1236"/>
                  </a:lnTo>
                  <a:lnTo>
                    <a:pt x="128" y="1240"/>
                  </a:lnTo>
                  <a:lnTo>
                    <a:pt x="132" y="1246"/>
                  </a:lnTo>
                  <a:lnTo>
                    <a:pt x="134" y="1254"/>
                  </a:lnTo>
                  <a:lnTo>
                    <a:pt x="134" y="1262"/>
                  </a:lnTo>
                  <a:lnTo>
                    <a:pt x="134" y="1264"/>
                  </a:lnTo>
                  <a:lnTo>
                    <a:pt x="134" y="1272"/>
                  </a:lnTo>
                  <a:lnTo>
                    <a:pt x="132" y="1280"/>
                  </a:lnTo>
                  <a:lnTo>
                    <a:pt x="128" y="1286"/>
                  </a:lnTo>
                  <a:lnTo>
                    <a:pt x="128" y="1292"/>
                  </a:lnTo>
                  <a:lnTo>
                    <a:pt x="130" y="1298"/>
                  </a:lnTo>
                  <a:lnTo>
                    <a:pt x="134" y="1304"/>
                  </a:lnTo>
                  <a:lnTo>
                    <a:pt x="134" y="1310"/>
                  </a:lnTo>
                  <a:lnTo>
                    <a:pt x="134" y="1314"/>
                  </a:lnTo>
                  <a:lnTo>
                    <a:pt x="136" y="1316"/>
                  </a:lnTo>
                  <a:lnTo>
                    <a:pt x="138" y="1320"/>
                  </a:lnTo>
                  <a:lnTo>
                    <a:pt x="140" y="1322"/>
                  </a:lnTo>
                  <a:lnTo>
                    <a:pt x="142" y="1322"/>
                  </a:lnTo>
                  <a:lnTo>
                    <a:pt x="146" y="1322"/>
                  </a:lnTo>
                  <a:lnTo>
                    <a:pt x="154" y="1322"/>
                  </a:lnTo>
                  <a:lnTo>
                    <a:pt x="160" y="1322"/>
                  </a:lnTo>
                  <a:lnTo>
                    <a:pt x="164" y="1322"/>
                  </a:lnTo>
                  <a:lnTo>
                    <a:pt x="170" y="1326"/>
                  </a:lnTo>
                  <a:lnTo>
                    <a:pt x="178" y="1334"/>
                  </a:lnTo>
                  <a:lnTo>
                    <a:pt x="184" y="1338"/>
                  </a:lnTo>
                  <a:lnTo>
                    <a:pt x="192" y="1338"/>
                  </a:lnTo>
                  <a:lnTo>
                    <a:pt x="206" y="1334"/>
                  </a:lnTo>
                  <a:lnTo>
                    <a:pt x="220" y="1328"/>
                  </a:lnTo>
                  <a:lnTo>
                    <a:pt x="234" y="1324"/>
                  </a:lnTo>
                  <a:lnTo>
                    <a:pt x="242" y="1320"/>
                  </a:lnTo>
                  <a:lnTo>
                    <a:pt x="246" y="1314"/>
                  </a:lnTo>
                  <a:lnTo>
                    <a:pt x="248" y="1308"/>
                  </a:lnTo>
                  <a:lnTo>
                    <a:pt x="258" y="1296"/>
                  </a:lnTo>
                  <a:lnTo>
                    <a:pt x="266" y="1288"/>
                  </a:lnTo>
                  <a:lnTo>
                    <a:pt x="270" y="1282"/>
                  </a:lnTo>
                  <a:lnTo>
                    <a:pt x="272" y="1276"/>
                  </a:lnTo>
                  <a:lnTo>
                    <a:pt x="274" y="1264"/>
                  </a:lnTo>
                  <a:lnTo>
                    <a:pt x="280" y="1250"/>
                  </a:lnTo>
                  <a:lnTo>
                    <a:pt x="282" y="1244"/>
                  </a:lnTo>
                  <a:lnTo>
                    <a:pt x="288" y="1238"/>
                  </a:lnTo>
                  <a:lnTo>
                    <a:pt x="304" y="1228"/>
                  </a:lnTo>
                  <a:lnTo>
                    <a:pt x="310" y="1224"/>
                  </a:lnTo>
                  <a:lnTo>
                    <a:pt x="316" y="1216"/>
                  </a:lnTo>
                  <a:lnTo>
                    <a:pt x="318" y="1212"/>
                  </a:lnTo>
                  <a:lnTo>
                    <a:pt x="322" y="1206"/>
                  </a:lnTo>
                  <a:lnTo>
                    <a:pt x="326" y="1204"/>
                  </a:lnTo>
                  <a:lnTo>
                    <a:pt x="340" y="1204"/>
                  </a:lnTo>
                  <a:lnTo>
                    <a:pt x="342" y="1204"/>
                  </a:lnTo>
                  <a:lnTo>
                    <a:pt x="350" y="1202"/>
                  </a:lnTo>
                  <a:lnTo>
                    <a:pt x="358" y="1200"/>
                  </a:lnTo>
                  <a:lnTo>
                    <a:pt x="374" y="1188"/>
                  </a:lnTo>
                  <a:lnTo>
                    <a:pt x="380" y="1186"/>
                  </a:lnTo>
                  <a:lnTo>
                    <a:pt x="386" y="1184"/>
                  </a:lnTo>
                  <a:lnTo>
                    <a:pt x="390" y="1182"/>
                  </a:lnTo>
                  <a:lnTo>
                    <a:pt x="396" y="1180"/>
                  </a:lnTo>
                  <a:lnTo>
                    <a:pt x="402" y="1178"/>
                  </a:lnTo>
                  <a:lnTo>
                    <a:pt x="408" y="1178"/>
                  </a:lnTo>
                  <a:lnTo>
                    <a:pt x="412" y="1180"/>
                  </a:lnTo>
                  <a:lnTo>
                    <a:pt x="420" y="1186"/>
                  </a:lnTo>
                  <a:lnTo>
                    <a:pt x="424" y="1192"/>
                  </a:lnTo>
                  <a:lnTo>
                    <a:pt x="436" y="1208"/>
                  </a:lnTo>
                  <a:lnTo>
                    <a:pt x="444" y="1220"/>
                  </a:lnTo>
                  <a:lnTo>
                    <a:pt x="446" y="1226"/>
                  </a:lnTo>
                  <a:lnTo>
                    <a:pt x="450" y="1232"/>
                  </a:lnTo>
                  <a:lnTo>
                    <a:pt x="456" y="1236"/>
                  </a:lnTo>
                  <a:lnTo>
                    <a:pt x="482" y="1250"/>
                  </a:lnTo>
                  <a:lnTo>
                    <a:pt x="488" y="1254"/>
                  </a:lnTo>
                  <a:lnTo>
                    <a:pt x="492" y="1260"/>
                  </a:lnTo>
                  <a:lnTo>
                    <a:pt x="502" y="1274"/>
                  </a:lnTo>
                  <a:lnTo>
                    <a:pt x="506" y="1282"/>
                  </a:lnTo>
                  <a:lnTo>
                    <a:pt x="506" y="1290"/>
                  </a:lnTo>
                  <a:lnTo>
                    <a:pt x="506" y="1304"/>
                  </a:lnTo>
                  <a:lnTo>
                    <a:pt x="506" y="1312"/>
                  </a:lnTo>
                  <a:lnTo>
                    <a:pt x="508" y="1316"/>
                  </a:lnTo>
                  <a:lnTo>
                    <a:pt x="510" y="1316"/>
                  </a:lnTo>
                  <a:lnTo>
                    <a:pt x="512" y="1316"/>
                  </a:lnTo>
                  <a:lnTo>
                    <a:pt x="514" y="1312"/>
                  </a:lnTo>
                  <a:lnTo>
                    <a:pt x="518" y="1302"/>
                  </a:lnTo>
                  <a:lnTo>
                    <a:pt x="522" y="1294"/>
                  </a:lnTo>
                  <a:lnTo>
                    <a:pt x="524" y="1288"/>
                  </a:lnTo>
                  <a:lnTo>
                    <a:pt x="526" y="1282"/>
                  </a:lnTo>
                  <a:lnTo>
                    <a:pt x="528" y="1274"/>
                  </a:lnTo>
                  <a:lnTo>
                    <a:pt x="528" y="1270"/>
                  </a:lnTo>
                  <a:lnTo>
                    <a:pt x="528" y="1268"/>
                  </a:lnTo>
                  <a:lnTo>
                    <a:pt x="530" y="1266"/>
                  </a:lnTo>
                  <a:lnTo>
                    <a:pt x="532" y="1266"/>
                  </a:lnTo>
                  <a:lnTo>
                    <a:pt x="534" y="1266"/>
                  </a:lnTo>
                  <a:lnTo>
                    <a:pt x="540" y="1268"/>
                  </a:lnTo>
                  <a:lnTo>
                    <a:pt x="552" y="1272"/>
                  </a:lnTo>
                  <a:lnTo>
                    <a:pt x="554" y="1272"/>
                  </a:lnTo>
                  <a:lnTo>
                    <a:pt x="554" y="1270"/>
                  </a:lnTo>
                  <a:lnTo>
                    <a:pt x="552" y="1266"/>
                  </a:lnTo>
                  <a:lnTo>
                    <a:pt x="534" y="1248"/>
                  </a:lnTo>
                  <a:lnTo>
                    <a:pt x="520" y="1240"/>
                  </a:lnTo>
                  <a:lnTo>
                    <a:pt x="516" y="1236"/>
                  </a:lnTo>
                  <a:lnTo>
                    <a:pt x="504" y="1228"/>
                  </a:lnTo>
                  <a:lnTo>
                    <a:pt x="494" y="1216"/>
                  </a:lnTo>
                  <a:lnTo>
                    <a:pt x="484" y="1200"/>
                  </a:lnTo>
                  <a:lnTo>
                    <a:pt x="476" y="1188"/>
                  </a:lnTo>
                  <a:lnTo>
                    <a:pt x="472" y="1182"/>
                  </a:lnTo>
                  <a:lnTo>
                    <a:pt x="470" y="1174"/>
                  </a:lnTo>
                  <a:lnTo>
                    <a:pt x="468" y="1166"/>
                  </a:lnTo>
                  <a:lnTo>
                    <a:pt x="468" y="1164"/>
                  </a:lnTo>
                  <a:lnTo>
                    <a:pt x="470" y="1158"/>
                  </a:lnTo>
                  <a:lnTo>
                    <a:pt x="474" y="1156"/>
                  </a:lnTo>
                  <a:lnTo>
                    <a:pt x="478" y="1154"/>
                  </a:lnTo>
                  <a:lnTo>
                    <a:pt x="482" y="1156"/>
                  </a:lnTo>
                  <a:lnTo>
                    <a:pt x="488" y="1156"/>
                  </a:lnTo>
                  <a:lnTo>
                    <a:pt x="496" y="1162"/>
                  </a:lnTo>
                  <a:lnTo>
                    <a:pt x="502" y="1168"/>
                  </a:lnTo>
                  <a:lnTo>
                    <a:pt x="508" y="1176"/>
                  </a:lnTo>
                  <a:lnTo>
                    <a:pt x="510" y="1182"/>
                  </a:lnTo>
                  <a:lnTo>
                    <a:pt x="516" y="1196"/>
                  </a:lnTo>
                  <a:lnTo>
                    <a:pt x="520" y="1204"/>
                  </a:lnTo>
                  <a:lnTo>
                    <a:pt x="524" y="1208"/>
                  </a:lnTo>
                  <a:lnTo>
                    <a:pt x="540" y="1220"/>
                  </a:lnTo>
                  <a:lnTo>
                    <a:pt x="548" y="1224"/>
                  </a:lnTo>
                  <a:lnTo>
                    <a:pt x="552" y="1230"/>
                  </a:lnTo>
                  <a:lnTo>
                    <a:pt x="560" y="1238"/>
                  </a:lnTo>
                  <a:lnTo>
                    <a:pt x="564" y="1244"/>
                  </a:lnTo>
                  <a:lnTo>
                    <a:pt x="566" y="1248"/>
                  </a:lnTo>
                  <a:lnTo>
                    <a:pt x="570" y="1260"/>
                  </a:lnTo>
                  <a:lnTo>
                    <a:pt x="572" y="1266"/>
                  </a:lnTo>
                  <a:lnTo>
                    <a:pt x="576" y="1272"/>
                  </a:lnTo>
                  <a:lnTo>
                    <a:pt x="580" y="1280"/>
                  </a:lnTo>
                  <a:lnTo>
                    <a:pt x="584" y="1286"/>
                  </a:lnTo>
                  <a:lnTo>
                    <a:pt x="588" y="1290"/>
                  </a:lnTo>
                  <a:lnTo>
                    <a:pt x="594" y="1292"/>
                  </a:lnTo>
                  <a:lnTo>
                    <a:pt x="598" y="1292"/>
                  </a:lnTo>
                  <a:lnTo>
                    <a:pt x="602" y="1294"/>
                  </a:lnTo>
                  <a:lnTo>
                    <a:pt x="602" y="1296"/>
                  </a:lnTo>
                  <a:lnTo>
                    <a:pt x="602" y="1298"/>
                  </a:lnTo>
                  <a:lnTo>
                    <a:pt x="598" y="1304"/>
                  </a:lnTo>
                  <a:lnTo>
                    <a:pt x="596" y="1310"/>
                  </a:lnTo>
                  <a:lnTo>
                    <a:pt x="596" y="1314"/>
                  </a:lnTo>
                  <a:lnTo>
                    <a:pt x="598" y="1320"/>
                  </a:lnTo>
                  <a:lnTo>
                    <a:pt x="604" y="1326"/>
                  </a:lnTo>
                  <a:lnTo>
                    <a:pt x="608" y="1328"/>
                  </a:lnTo>
                  <a:lnTo>
                    <a:pt x="616" y="1330"/>
                  </a:lnTo>
                  <a:lnTo>
                    <a:pt x="620" y="1326"/>
                  </a:lnTo>
                  <a:lnTo>
                    <a:pt x="624" y="1322"/>
                  </a:lnTo>
                  <a:lnTo>
                    <a:pt x="626" y="1316"/>
                  </a:lnTo>
                  <a:lnTo>
                    <a:pt x="628" y="1312"/>
                  </a:lnTo>
                  <a:lnTo>
                    <a:pt x="632" y="1308"/>
                  </a:lnTo>
                  <a:lnTo>
                    <a:pt x="638" y="1306"/>
                  </a:lnTo>
                  <a:lnTo>
                    <a:pt x="640" y="1304"/>
                  </a:lnTo>
                  <a:lnTo>
                    <a:pt x="642" y="1302"/>
                  </a:lnTo>
                  <a:lnTo>
                    <a:pt x="640" y="1300"/>
                  </a:lnTo>
                  <a:lnTo>
                    <a:pt x="640" y="1296"/>
                  </a:lnTo>
                  <a:lnTo>
                    <a:pt x="632" y="1288"/>
                  </a:lnTo>
                  <a:lnTo>
                    <a:pt x="628" y="1282"/>
                  </a:lnTo>
                  <a:lnTo>
                    <a:pt x="626" y="1278"/>
                  </a:lnTo>
                  <a:lnTo>
                    <a:pt x="624" y="1272"/>
                  </a:lnTo>
                  <a:lnTo>
                    <a:pt x="620" y="1268"/>
                  </a:lnTo>
                  <a:lnTo>
                    <a:pt x="620" y="1266"/>
                  </a:lnTo>
                  <a:lnTo>
                    <a:pt x="620" y="1264"/>
                  </a:lnTo>
                  <a:lnTo>
                    <a:pt x="624" y="1260"/>
                  </a:lnTo>
                  <a:lnTo>
                    <a:pt x="638" y="1256"/>
                  </a:lnTo>
                  <a:lnTo>
                    <a:pt x="652" y="1254"/>
                  </a:lnTo>
                  <a:lnTo>
                    <a:pt x="656" y="1254"/>
                  </a:lnTo>
                  <a:lnTo>
                    <a:pt x="664" y="1254"/>
                  </a:lnTo>
                  <a:lnTo>
                    <a:pt x="668" y="1260"/>
                  </a:lnTo>
                  <a:lnTo>
                    <a:pt x="670" y="1266"/>
                  </a:lnTo>
                  <a:lnTo>
                    <a:pt x="674" y="1272"/>
                  </a:lnTo>
                  <a:lnTo>
                    <a:pt x="678" y="1280"/>
                  </a:lnTo>
                  <a:lnTo>
                    <a:pt x="680" y="1284"/>
                  </a:lnTo>
                  <a:lnTo>
                    <a:pt x="688" y="1300"/>
                  </a:lnTo>
                  <a:lnTo>
                    <a:pt x="690" y="1304"/>
                  </a:lnTo>
                  <a:lnTo>
                    <a:pt x="698" y="1318"/>
                  </a:lnTo>
                  <a:lnTo>
                    <a:pt x="700" y="1324"/>
                  </a:lnTo>
                  <a:lnTo>
                    <a:pt x="704" y="1328"/>
                  </a:lnTo>
                  <a:lnTo>
                    <a:pt x="712" y="1330"/>
                  </a:lnTo>
                  <a:lnTo>
                    <a:pt x="734" y="1330"/>
                  </a:lnTo>
                  <a:lnTo>
                    <a:pt x="748" y="1330"/>
                  </a:lnTo>
                  <a:lnTo>
                    <a:pt x="760" y="1334"/>
                  </a:lnTo>
                  <a:lnTo>
                    <a:pt x="774" y="1338"/>
                  </a:lnTo>
                  <a:lnTo>
                    <a:pt x="782" y="1338"/>
                  </a:lnTo>
                  <a:lnTo>
                    <a:pt x="788" y="1338"/>
                  </a:lnTo>
                  <a:lnTo>
                    <a:pt x="794" y="1334"/>
                  </a:lnTo>
                  <a:lnTo>
                    <a:pt x="802" y="1332"/>
                  </a:lnTo>
                  <a:lnTo>
                    <a:pt x="808" y="1334"/>
                  </a:lnTo>
                  <a:lnTo>
                    <a:pt x="814" y="1338"/>
                  </a:lnTo>
                  <a:lnTo>
                    <a:pt x="820" y="1340"/>
                  </a:lnTo>
                  <a:lnTo>
                    <a:pt x="824" y="1348"/>
                  </a:lnTo>
                  <a:lnTo>
                    <a:pt x="826" y="1354"/>
                  </a:lnTo>
                  <a:lnTo>
                    <a:pt x="828" y="1360"/>
                  </a:lnTo>
                  <a:lnTo>
                    <a:pt x="828" y="1368"/>
                  </a:lnTo>
                  <a:lnTo>
                    <a:pt x="814" y="1402"/>
                  </a:lnTo>
                  <a:lnTo>
                    <a:pt x="810" y="1408"/>
                  </a:lnTo>
                  <a:lnTo>
                    <a:pt x="806" y="1410"/>
                  </a:lnTo>
                  <a:lnTo>
                    <a:pt x="802" y="1412"/>
                  </a:lnTo>
                  <a:lnTo>
                    <a:pt x="798" y="1416"/>
                  </a:lnTo>
                  <a:lnTo>
                    <a:pt x="796" y="1422"/>
                  </a:lnTo>
                  <a:lnTo>
                    <a:pt x="792" y="1428"/>
                  </a:lnTo>
                  <a:lnTo>
                    <a:pt x="786" y="1434"/>
                  </a:lnTo>
                  <a:lnTo>
                    <a:pt x="780" y="1438"/>
                  </a:lnTo>
                  <a:lnTo>
                    <a:pt x="774" y="1438"/>
                  </a:lnTo>
                  <a:lnTo>
                    <a:pt x="760" y="1438"/>
                  </a:lnTo>
                  <a:lnTo>
                    <a:pt x="754" y="1438"/>
                  </a:lnTo>
                  <a:lnTo>
                    <a:pt x="748" y="1434"/>
                  </a:lnTo>
                  <a:lnTo>
                    <a:pt x="742" y="1430"/>
                  </a:lnTo>
                  <a:lnTo>
                    <a:pt x="734" y="1430"/>
                  </a:lnTo>
                  <a:lnTo>
                    <a:pt x="712" y="1436"/>
                  </a:lnTo>
                  <a:lnTo>
                    <a:pt x="704" y="1438"/>
                  </a:lnTo>
                  <a:lnTo>
                    <a:pt x="696" y="1436"/>
                  </a:lnTo>
                  <a:lnTo>
                    <a:pt x="682" y="1432"/>
                  </a:lnTo>
                  <a:lnTo>
                    <a:pt x="666" y="1428"/>
                  </a:lnTo>
                  <a:lnTo>
                    <a:pt x="662" y="1428"/>
                  </a:lnTo>
                  <a:lnTo>
                    <a:pt x="656" y="1428"/>
                  </a:lnTo>
                  <a:lnTo>
                    <a:pt x="650" y="1424"/>
                  </a:lnTo>
                  <a:lnTo>
                    <a:pt x="638" y="1416"/>
                  </a:lnTo>
                  <a:lnTo>
                    <a:pt x="632" y="1412"/>
                  </a:lnTo>
                  <a:lnTo>
                    <a:pt x="626" y="1410"/>
                  </a:lnTo>
                  <a:lnTo>
                    <a:pt x="618" y="1410"/>
                  </a:lnTo>
                  <a:lnTo>
                    <a:pt x="614" y="1410"/>
                  </a:lnTo>
                  <a:lnTo>
                    <a:pt x="598" y="1412"/>
                  </a:lnTo>
                  <a:lnTo>
                    <a:pt x="584" y="1416"/>
                  </a:lnTo>
                  <a:lnTo>
                    <a:pt x="578" y="1420"/>
                  </a:lnTo>
                  <a:lnTo>
                    <a:pt x="576" y="1428"/>
                  </a:lnTo>
                  <a:lnTo>
                    <a:pt x="576" y="1430"/>
                  </a:lnTo>
                  <a:lnTo>
                    <a:pt x="574" y="1438"/>
                  </a:lnTo>
                  <a:lnTo>
                    <a:pt x="570" y="1442"/>
                  </a:lnTo>
                  <a:lnTo>
                    <a:pt x="554" y="1446"/>
                  </a:lnTo>
                  <a:lnTo>
                    <a:pt x="548" y="1446"/>
                  </a:lnTo>
                  <a:lnTo>
                    <a:pt x="542" y="1442"/>
                  </a:lnTo>
                  <a:lnTo>
                    <a:pt x="534" y="1434"/>
                  </a:lnTo>
                  <a:lnTo>
                    <a:pt x="522" y="1424"/>
                  </a:lnTo>
                  <a:lnTo>
                    <a:pt x="512" y="1414"/>
                  </a:lnTo>
                  <a:lnTo>
                    <a:pt x="508" y="1410"/>
                  </a:lnTo>
                  <a:lnTo>
                    <a:pt x="500" y="1410"/>
                  </a:lnTo>
                  <a:lnTo>
                    <a:pt x="476" y="1410"/>
                  </a:lnTo>
                  <a:lnTo>
                    <a:pt x="470" y="1408"/>
                  </a:lnTo>
                  <a:lnTo>
                    <a:pt x="462" y="1406"/>
                  </a:lnTo>
                  <a:lnTo>
                    <a:pt x="456" y="1404"/>
                  </a:lnTo>
                  <a:lnTo>
                    <a:pt x="442" y="1396"/>
                  </a:lnTo>
                  <a:lnTo>
                    <a:pt x="436" y="1394"/>
                  </a:lnTo>
                  <a:lnTo>
                    <a:pt x="424" y="1386"/>
                  </a:lnTo>
                  <a:lnTo>
                    <a:pt x="422" y="1380"/>
                  </a:lnTo>
                  <a:lnTo>
                    <a:pt x="424" y="1374"/>
                  </a:lnTo>
                  <a:lnTo>
                    <a:pt x="434" y="1358"/>
                  </a:lnTo>
                  <a:lnTo>
                    <a:pt x="436" y="1350"/>
                  </a:lnTo>
                  <a:lnTo>
                    <a:pt x="436" y="1344"/>
                  </a:lnTo>
                  <a:lnTo>
                    <a:pt x="434" y="1338"/>
                  </a:lnTo>
                  <a:lnTo>
                    <a:pt x="428" y="1332"/>
                  </a:lnTo>
                  <a:lnTo>
                    <a:pt x="422" y="1328"/>
                  </a:lnTo>
                  <a:lnTo>
                    <a:pt x="418" y="1326"/>
                  </a:lnTo>
                  <a:lnTo>
                    <a:pt x="406" y="1322"/>
                  </a:lnTo>
                  <a:lnTo>
                    <a:pt x="402" y="1322"/>
                  </a:lnTo>
                  <a:lnTo>
                    <a:pt x="400" y="1324"/>
                  </a:lnTo>
                  <a:lnTo>
                    <a:pt x="400" y="1328"/>
                  </a:lnTo>
                  <a:lnTo>
                    <a:pt x="400" y="1324"/>
                  </a:lnTo>
                  <a:lnTo>
                    <a:pt x="398" y="1324"/>
                  </a:lnTo>
                  <a:lnTo>
                    <a:pt x="396" y="1326"/>
                  </a:lnTo>
                  <a:lnTo>
                    <a:pt x="390" y="1330"/>
                  </a:lnTo>
                  <a:lnTo>
                    <a:pt x="382" y="1332"/>
                  </a:lnTo>
                  <a:lnTo>
                    <a:pt x="378" y="1332"/>
                  </a:lnTo>
                  <a:lnTo>
                    <a:pt x="362" y="1332"/>
                  </a:lnTo>
                  <a:lnTo>
                    <a:pt x="320" y="1332"/>
                  </a:lnTo>
                  <a:lnTo>
                    <a:pt x="312" y="1332"/>
                  </a:lnTo>
                  <a:lnTo>
                    <a:pt x="304" y="1334"/>
                  </a:lnTo>
                  <a:lnTo>
                    <a:pt x="270" y="1348"/>
                  </a:lnTo>
                  <a:lnTo>
                    <a:pt x="254" y="1354"/>
                  </a:lnTo>
                  <a:lnTo>
                    <a:pt x="250" y="1358"/>
                  </a:lnTo>
                  <a:lnTo>
                    <a:pt x="244" y="1360"/>
                  </a:lnTo>
                  <a:lnTo>
                    <a:pt x="242" y="1362"/>
                  </a:lnTo>
                  <a:lnTo>
                    <a:pt x="242" y="1364"/>
                  </a:lnTo>
                  <a:lnTo>
                    <a:pt x="242" y="1362"/>
                  </a:lnTo>
                  <a:lnTo>
                    <a:pt x="240" y="1362"/>
                  </a:lnTo>
                  <a:lnTo>
                    <a:pt x="238" y="1360"/>
                  </a:lnTo>
                  <a:lnTo>
                    <a:pt x="224" y="1360"/>
                  </a:lnTo>
                  <a:lnTo>
                    <a:pt x="220" y="1360"/>
                  </a:lnTo>
                  <a:lnTo>
                    <a:pt x="208" y="1360"/>
                  </a:lnTo>
                  <a:lnTo>
                    <a:pt x="196" y="1356"/>
                  </a:lnTo>
                  <a:lnTo>
                    <a:pt x="190" y="1354"/>
                  </a:lnTo>
                  <a:lnTo>
                    <a:pt x="188" y="1354"/>
                  </a:lnTo>
                  <a:lnTo>
                    <a:pt x="184" y="1354"/>
                  </a:lnTo>
                  <a:lnTo>
                    <a:pt x="182" y="1356"/>
                  </a:lnTo>
                  <a:lnTo>
                    <a:pt x="180" y="1358"/>
                  </a:lnTo>
                  <a:lnTo>
                    <a:pt x="168" y="1374"/>
                  </a:lnTo>
                  <a:lnTo>
                    <a:pt x="158" y="1386"/>
                  </a:lnTo>
                  <a:lnTo>
                    <a:pt x="150" y="1394"/>
                  </a:lnTo>
                  <a:lnTo>
                    <a:pt x="140" y="1406"/>
                  </a:lnTo>
                  <a:lnTo>
                    <a:pt x="130" y="1422"/>
                  </a:lnTo>
                  <a:lnTo>
                    <a:pt x="122" y="1436"/>
                  </a:lnTo>
                  <a:lnTo>
                    <a:pt x="116" y="1460"/>
                  </a:lnTo>
                  <a:lnTo>
                    <a:pt x="114" y="1466"/>
                  </a:lnTo>
                  <a:lnTo>
                    <a:pt x="108" y="1472"/>
                  </a:lnTo>
                  <a:lnTo>
                    <a:pt x="82" y="1484"/>
                  </a:lnTo>
                  <a:lnTo>
                    <a:pt x="70" y="1492"/>
                  </a:lnTo>
                  <a:lnTo>
                    <a:pt x="66" y="1498"/>
                  </a:lnTo>
                  <a:lnTo>
                    <a:pt x="62" y="1502"/>
                  </a:lnTo>
                  <a:lnTo>
                    <a:pt x="52" y="1514"/>
                  </a:lnTo>
                  <a:lnTo>
                    <a:pt x="32" y="1550"/>
                  </a:lnTo>
                  <a:lnTo>
                    <a:pt x="24" y="1564"/>
                  </a:lnTo>
                  <a:lnTo>
                    <a:pt x="12" y="1598"/>
                  </a:lnTo>
                  <a:lnTo>
                    <a:pt x="8" y="1606"/>
                  </a:lnTo>
                  <a:lnTo>
                    <a:pt x="10" y="1614"/>
                  </a:lnTo>
                  <a:lnTo>
                    <a:pt x="16" y="1626"/>
                  </a:lnTo>
                  <a:lnTo>
                    <a:pt x="18" y="1642"/>
                  </a:lnTo>
                  <a:lnTo>
                    <a:pt x="18" y="1666"/>
                  </a:lnTo>
                  <a:lnTo>
                    <a:pt x="16" y="1672"/>
                  </a:lnTo>
                  <a:lnTo>
                    <a:pt x="12" y="1678"/>
                  </a:lnTo>
                  <a:lnTo>
                    <a:pt x="8" y="1684"/>
                  </a:lnTo>
                  <a:lnTo>
                    <a:pt x="6" y="1692"/>
                  </a:lnTo>
                  <a:lnTo>
                    <a:pt x="0" y="1706"/>
                  </a:lnTo>
                  <a:lnTo>
                    <a:pt x="0" y="1712"/>
                  </a:lnTo>
                  <a:lnTo>
                    <a:pt x="0" y="1720"/>
                  </a:lnTo>
                  <a:lnTo>
                    <a:pt x="6" y="1744"/>
                  </a:lnTo>
                  <a:lnTo>
                    <a:pt x="8" y="1750"/>
                  </a:lnTo>
                  <a:lnTo>
                    <a:pt x="12" y="1752"/>
                  </a:lnTo>
                  <a:lnTo>
                    <a:pt x="18" y="1752"/>
                  </a:lnTo>
                  <a:lnTo>
                    <a:pt x="20" y="1752"/>
                  </a:lnTo>
                  <a:lnTo>
                    <a:pt x="18" y="1752"/>
                  </a:lnTo>
                  <a:lnTo>
                    <a:pt x="20" y="1760"/>
                  </a:lnTo>
                  <a:lnTo>
                    <a:pt x="24" y="1764"/>
                  </a:lnTo>
                  <a:lnTo>
                    <a:pt x="26" y="1768"/>
                  </a:lnTo>
                  <a:lnTo>
                    <a:pt x="30" y="1770"/>
                  </a:lnTo>
                  <a:lnTo>
                    <a:pt x="32" y="1768"/>
                  </a:lnTo>
                  <a:lnTo>
                    <a:pt x="30" y="1770"/>
                  </a:lnTo>
                  <a:lnTo>
                    <a:pt x="30" y="1772"/>
                  </a:lnTo>
                  <a:lnTo>
                    <a:pt x="32" y="1772"/>
                  </a:lnTo>
                  <a:lnTo>
                    <a:pt x="36" y="1774"/>
                  </a:lnTo>
                  <a:lnTo>
                    <a:pt x="40" y="1778"/>
                  </a:lnTo>
                  <a:lnTo>
                    <a:pt x="52" y="1804"/>
                  </a:lnTo>
                  <a:lnTo>
                    <a:pt x="56" y="1810"/>
                  </a:lnTo>
                  <a:lnTo>
                    <a:pt x="60" y="1816"/>
                  </a:lnTo>
                  <a:lnTo>
                    <a:pt x="72" y="1824"/>
                  </a:lnTo>
                  <a:lnTo>
                    <a:pt x="84" y="1832"/>
                  </a:lnTo>
                  <a:lnTo>
                    <a:pt x="94" y="1838"/>
                  </a:lnTo>
                  <a:lnTo>
                    <a:pt x="102" y="1844"/>
                  </a:lnTo>
                  <a:lnTo>
                    <a:pt x="128" y="1864"/>
                  </a:lnTo>
                  <a:lnTo>
                    <a:pt x="136" y="1868"/>
                  </a:lnTo>
                  <a:lnTo>
                    <a:pt x="142" y="1870"/>
                  </a:lnTo>
                  <a:lnTo>
                    <a:pt x="146" y="1870"/>
                  </a:lnTo>
                  <a:lnTo>
                    <a:pt x="152" y="1868"/>
                  </a:lnTo>
                  <a:lnTo>
                    <a:pt x="154" y="1868"/>
                  </a:lnTo>
                  <a:lnTo>
                    <a:pt x="154" y="1866"/>
                  </a:lnTo>
                  <a:lnTo>
                    <a:pt x="154" y="1868"/>
                  </a:lnTo>
                  <a:lnTo>
                    <a:pt x="158" y="1868"/>
                  </a:lnTo>
                  <a:lnTo>
                    <a:pt x="162" y="1870"/>
                  </a:lnTo>
                  <a:lnTo>
                    <a:pt x="166" y="1870"/>
                  </a:lnTo>
                  <a:lnTo>
                    <a:pt x="182" y="1868"/>
                  </a:lnTo>
                  <a:lnTo>
                    <a:pt x="206" y="1862"/>
                  </a:lnTo>
                  <a:lnTo>
                    <a:pt x="218" y="1860"/>
                  </a:lnTo>
                  <a:lnTo>
                    <a:pt x="224" y="1860"/>
                  </a:lnTo>
                  <a:lnTo>
                    <a:pt x="232" y="1860"/>
                  </a:lnTo>
                  <a:lnTo>
                    <a:pt x="244" y="1860"/>
                  </a:lnTo>
                  <a:lnTo>
                    <a:pt x="260" y="1856"/>
                  </a:lnTo>
                  <a:lnTo>
                    <a:pt x="274" y="1852"/>
                  </a:lnTo>
                  <a:lnTo>
                    <a:pt x="282" y="1850"/>
                  </a:lnTo>
                  <a:lnTo>
                    <a:pt x="288" y="1844"/>
                  </a:lnTo>
                  <a:lnTo>
                    <a:pt x="294" y="1842"/>
                  </a:lnTo>
                  <a:lnTo>
                    <a:pt x="300" y="1838"/>
                  </a:lnTo>
                  <a:lnTo>
                    <a:pt x="306" y="1838"/>
                  </a:lnTo>
                  <a:lnTo>
                    <a:pt x="312" y="1840"/>
                  </a:lnTo>
                  <a:lnTo>
                    <a:pt x="320" y="1840"/>
                  </a:lnTo>
                  <a:lnTo>
                    <a:pt x="322" y="1840"/>
                  </a:lnTo>
                  <a:lnTo>
                    <a:pt x="330" y="1842"/>
                  </a:lnTo>
                  <a:lnTo>
                    <a:pt x="334" y="1846"/>
                  </a:lnTo>
                  <a:lnTo>
                    <a:pt x="346" y="1862"/>
                  </a:lnTo>
                  <a:lnTo>
                    <a:pt x="352" y="1868"/>
                  </a:lnTo>
                  <a:lnTo>
                    <a:pt x="358" y="1870"/>
                  </a:lnTo>
                  <a:lnTo>
                    <a:pt x="362" y="1870"/>
                  </a:lnTo>
                  <a:lnTo>
                    <a:pt x="370" y="1870"/>
                  </a:lnTo>
                  <a:lnTo>
                    <a:pt x="378" y="1874"/>
                  </a:lnTo>
                  <a:lnTo>
                    <a:pt x="384" y="1876"/>
                  </a:lnTo>
                  <a:lnTo>
                    <a:pt x="388" y="1878"/>
                  </a:lnTo>
                  <a:lnTo>
                    <a:pt x="392" y="1878"/>
                  </a:lnTo>
                  <a:lnTo>
                    <a:pt x="392" y="1876"/>
                  </a:lnTo>
                  <a:lnTo>
                    <a:pt x="392" y="1878"/>
                  </a:lnTo>
                  <a:lnTo>
                    <a:pt x="394" y="1878"/>
                  </a:lnTo>
                  <a:lnTo>
                    <a:pt x="398" y="1878"/>
                  </a:lnTo>
                  <a:lnTo>
                    <a:pt x="404" y="1880"/>
                  </a:lnTo>
                  <a:lnTo>
                    <a:pt x="408" y="1884"/>
                  </a:lnTo>
                  <a:lnTo>
                    <a:pt x="410" y="1890"/>
                  </a:lnTo>
                  <a:lnTo>
                    <a:pt x="410" y="1896"/>
                  </a:lnTo>
                  <a:lnTo>
                    <a:pt x="410" y="1900"/>
                  </a:lnTo>
                  <a:lnTo>
                    <a:pt x="410" y="1908"/>
                  </a:lnTo>
                  <a:lnTo>
                    <a:pt x="410" y="1916"/>
                  </a:lnTo>
                  <a:lnTo>
                    <a:pt x="410" y="1920"/>
                  </a:lnTo>
                  <a:lnTo>
                    <a:pt x="410" y="1936"/>
                  </a:lnTo>
                  <a:lnTo>
                    <a:pt x="410" y="1950"/>
                  </a:lnTo>
                  <a:lnTo>
                    <a:pt x="412" y="1956"/>
                  </a:lnTo>
                  <a:lnTo>
                    <a:pt x="414" y="1964"/>
                  </a:lnTo>
                  <a:lnTo>
                    <a:pt x="434" y="1990"/>
                  </a:lnTo>
                  <a:lnTo>
                    <a:pt x="438" y="1994"/>
                  </a:lnTo>
                  <a:lnTo>
                    <a:pt x="440" y="1994"/>
                  </a:lnTo>
                  <a:lnTo>
                    <a:pt x="442" y="1994"/>
                  </a:lnTo>
                  <a:lnTo>
                    <a:pt x="440" y="1996"/>
                  </a:lnTo>
                  <a:lnTo>
                    <a:pt x="440" y="1998"/>
                  </a:lnTo>
                  <a:lnTo>
                    <a:pt x="444" y="2002"/>
                  </a:lnTo>
                  <a:lnTo>
                    <a:pt x="452" y="2014"/>
                  </a:lnTo>
                  <a:lnTo>
                    <a:pt x="456" y="2020"/>
                  </a:lnTo>
                  <a:lnTo>
                    <a:pt x="458" y="2026"/>
                  </a:lnTo>
                  <a:lnTo>
                    <a:pt x="458" y="2034"/>
                  </a:lnTo>
                  <a:lnTo>
                    <a:pt x="458" y="2038"/>
                  </a:lnTo>
                  <a:lnTo>
                    <a:pt x="458" y="2046"/>
                  </a:lnTo>
                  <a:lnTo>
                    <a:pt x="460" y="2054"/>
                  </a:lnTo>
                  <a:lnTo>
                    <a:pt x="468" y="2096"/>
                  </a:lnTo>
                  <a:lnTo>
                    <a:pt x="472" y="2112"/>
                  </a:lnTo>
                  <a:lnTo>
                    <a:pt x="476" y="2124"/>
                  </a:lnTo>
                  <a:lnTo>
                    <a:pt x="478" y="2134"/>
                  </a:lnTo>
                  <a:lnTo>
                    <a:pt x="472" y="2144"/>
                  </a:lnTo>
                  <a:lnTo>
                    <a:pt x="462" y="2166"/>
                  </a:lnTo>
                  <a:lnTo>
                    <a:pt x="460" y="2172"/>
                  </a:lnTo>
                  <a:lnTo>
                    <a:pt x="458" y="2180"/>
                  </a:lnTo>
                  <a:lnTo>
                    <a:pt x="458" y="2204"/>
                  </a:lnTo>
                  <a:lnTo>
                    <a:pt x="460" y="2212"/>
                  </a:lnTo>
                  <a:lnTo>
                    <a:pt x="460" y="2210"/>
                  </a:lnTo>
                  <a:lnTo>
                    <a:pt x="460" y="2212"/>
                  </a:lnTo>
                  <a:lnTo>
                    <a:pt x="456" y="2220"/>
                  </a:lnTo>
                  <a:lnTo>
                    <a:pt x="452" y="2234"/>
                  </a:lnTo>
                  <a:lnTo>
                    <a:pt x="450" y="2242"/>
                  </a:lnTo>
                  <a:lnTo>
                    <a:pt x="452" y="2248"/>
                  </a:lnTo>
                  <a:lnTo>
                    <a:pt x="484" y="2302"/>
                  </a:lnTo>
                  <a:lnTo>
                    <a:pt x="488" y="2308"/>
                  </a:lnTo>
                  <a:lnTo>
                    <a:pt x="488" y="2314"/>
                  </a:lnTo>
                  <a:lnTo>
                    <a:pt x="490" y="2328"/>
                  </a:lnTo>
                  <a:lnTo>
                    <a:pt x="496" y="2380"/>
                  </a:lnTo>
                  <a:lnTo>
                    <a:pt x="500" y="2386"/>
                  </a:lnTo>
                  <a:lnTo>
                    <a:pt x="504" y="2392"/>
                  </a:lnTo>
                  <a:lnTo>
                    <a:pt x="520" y="2402"/>
                  </a:lnTo>
                  <a:lnTo>
                    <a:pt x="528" y="2406"/>
                  </a:lnTo>
                  <a:lnTo>
                    <a:pt x="528" y="2404"/>
                  </a:lnTo>
                  <a:lnTo>
                    <a:pt x="528" y="2406"/>
                  </a:lnTo>
                  <a:lnTo>
                    <a:pt x="532" y="2414"/>
                  </a:lnTo>
                  <a:lnTo>
                    <a:pt x="534" y="2420"/>
                  </a:lnTo>
                  <a:lnTo>
                    <a:pt x="540" y="2434"/>
                  </a:lnTo>
                  <a:lnTo>
                    <a:pt x="546" y="2458"/>
                  </a:lnTo>
                  <a:lnTo>
                    <a:pt x="548" y="2474"/>
                  </a:lnTo>
                  <a:lnTo>
                    <a:pt x="548" y="2478"/>
                  </a:lnTo>
                  <a:lnTo>
                    <a:pt x="548" y="2486"/>
                  </a:lnTo>
                  <a:lnTo>
                    <a:pt x="552" y="2492"/>
                  </a:lnTo>
                  <a:lnTo>
                    <a:pt x="562" y="2508"/>
                  </a:lnTo>
                  <a:lnTo>
                    <a:pt x="568" y="2512"/>
                  </a:lnTo>
                  <a:lnTo>
                    <a:pt x="574" y="2514"/>
                  </a:lnTo>
                  <a:lnTo>
                    <a:pt x="598" y="2508"/>
                  </a:lnTo>
                  <a:lnTo>
                    <a:pt x="614" y="2504"/>
                  </a:lnTo>
                  <a:lnTo>
                    <a:pt x="638" y="2498"/>
                  </a:lnTo>
                  <a:lnTo>
                    <a:pt x="654" y="2496"/>
                  </a:lnTo>
                  <a:lnTo>
                    <a:pt x="676" y="2496"/>
                  </a:lnTo>
                  <a:lnTo>
                    <a:pt x="684" y="2494"/>
                  </a:lnTo>
                  <a:lnTo>
                    <a:pt x="690" y="2490"/>
                  </a:lnTo>
                  <a:lnTo>
                    <a:pt x="748" y="2424"/>
                  </a:lnTo>
                  <a:lnTo>
                    <a:pt x="756" y="2410"/>
                  </a:lnTo>
                  <a:lnTo>
                    <a:pt x="770" y="2376"/>
                  </a:lnTo>
                  <a:lnTo>
                    <a:pt x="770" y="2370"/>
                  </a:lnTo>
                  <a:lnTo>
                    <a:pt x="770" y="2368"/>
                  </a:lnTo>
                  <a:lnTo>
                    <a:pt x="768" y="2368"/>
                  </a:lnTo>
                  <a:lnTo>
                    <a:pt x="770" y="2368"/>
                  </a:lnTo>
                  <a:lnTo>
                    <a:pt x="772" y="2366"/>
                  </a:lnTo>
                  <a:lnTo>
                    <a:pt x="772" y="2364"/>
                  </a:lnTo>
                  <a:lnTo>
                    <a:pt x="774" y="2358"/>
                  </a:lnTo>
                  <a:lnTo>
                    <a:pt x="778" y="2354"/>
                  </a:lnTo>
                  <a:lnTo>
                    <a:pt x="806" y="2334"/>
                  </a:lnTo>
                  <a:lnTo>
                    <a:pt x="810" y="2328"/>
                  </a:lnTo>
                  <a:lnTo>
                    <a:pt x="814" y="2322"/>
                  </a:lnTo>
                  <a:lnTo>
                    <a:pt x="818" y="2308"/>
                  </a:lnTo>
                  <a:lnTo>
                    <a:pt x="820" y="2300"/>
                  </a:lnTo>
                  <a:lnTo>
                    <a:pt x="820" y="2292"/>
                  </a:lnTo>
                  <a:lnTo>
                    <a:pt x="814" y="2268"/>
                  </a:lnTo>
                  <a:lnTo>
                    <a:pt x="814" y="2260"/>
                  </a:lnTo>
                  <a:lnTo>
                    <a:pt x="816" y="2254"/>
                  </a:lnTo>
                  <a:lnTo>
                    <a:pt x="826" y="2238"/>
                  </a:lnTo>
                  <a:lnTo>
                    <a:pt x="832" y="2232"/>
                  </a:lnTo>
                  <a:lnTo>
                    <a:pt x="838" y="2228"/>
                  </a:lnTo>
                  <a:lnTo>
                    <a:pt x="874" y="2206"/>
                  </a:lnTo>
                  <a:lnTo>
                    <a:pt x="880" y="2202"/>
                  </a:lnTo>
                  <a:lnTo>
                    <a:pt x="884" y="2194"/>
                  </a:lnTo>
                  <a:lnTo>
                    <a:pt x="886" y="2190"/>
                  </a:lnTo>
                  <a:lnTo>
                    <a:pt x="894" y="2176"/>
                  </a:lnTo>
                  <a:lnTo>
                    <a:pt x="896" y="2170"/>
                  </a:lnTo>
                  <a:lnTo>
                    <a:pt x="898" y="2162"/>
                  </a:lnTo>
                  <a:lnTo>
                    <a:pt x="898" y="2156"/>
                  </a:lnTo>
                  <a:lnTo>
                    <a:pt x="892" y="2132"/>
                  </a:lnTo>
                  <a:lnTo>
                    <a:pt x="890" y="2116"/>
                  </a:lnTo>
                  <a:lnTo>
                    <a:pt x="890" y="2112"/>
                  </a:lnTo>
                  <a:lnTo>
                    <a:pt x="890" y="2108"/>
                  </a:lnTo>
                  <a:lnTo>
                    <a:pt x="888" y="2106"/>
                  </a:lnTo>
                  <a:lnTo>
                    <a:pt x="886" y="2108"/>
                  </a:lnTo>
                  <a:lnTo>
                    <a:pt x="888" y="2106"/>
                  </a:lnTo>
                  <a:lnTo>
                    <a:pt x="888" y="2102"/>
                  </a:lnTo>
                  <a:lnTo>
                    <a:pt x="886" y="2098"/>
                  </a:lnTo>
                  <a:lnTo>
                    <a:pt x="882" y="2094"/>
                  </a:lnTo>
                  <a:lnTo>
                    <a:pt x="880" y="2086"/>
                  </a:lnTo>
                  <a:lnTo>
                    <a:pt x="880" y="2054"/>
                  </a:lnTo>
                  <a:lnTo>
                    <a:pt x="880" y="2046"/>
                  </a:lnTo>
                  <a:lnTo>
                    <a:pt x="876" y="2038"/>
                  </a:lnTo>
                  <a:lnTo>
                    <a:pt x="874" y="2032"/>
                  </a:lnTo>
                  <a:lnTo>
                    <a:pt x="872" y="2026"/>
                  </a:lnTo>
                  <a:lnTo>
                    <a:pt x="876" y="2020"/>
                  </a:lnTo>
                  <a:lnTo>
                    <a:pt x="880" y="2016"/>
                  </a:lnTo>
                  <a:lnTo>
                    <a:pt x="880" y="2012"/>
                  </a:lnTo>
                  <a:lnTo>
                    <a:pt x="882" y="2006"/>
                  </a:lnTo>
                  <a:lnTo>
                    <a:pt x="884" y="2000"/>
                  </a:lnTo>
                  <a:lnTo>
                    <a:pt x="894" y="1984"/>
                  </a:lnTo>
                  <a:lnTo>
                    <a:pt x="900" y="1978"/>
                  </a:lnTo>
                  <a:lnTo>
                    <a:pt x="906" y="1974"/>
                  </a:lnTo>
                  <a:lnTo>
                    <a:pt x="912" y="1970"/>
                  </a:lnTo>
                  <a:lnTo>
                    <a:pt x="918" y="1968"/>
                  </a:lnTo>
                  <a:lnTo>
                    <a:pt x="922" y="1960"/>
                  </a:lnTo>
                  <a:lnTo>
                    <a:pt x="934" y="1936"/>
                  </a:lnTo>
                  <a:lnTo>
                    <a:pt x="940" y="1930"/>
                  </a:lnTo>
                  <a:lnTo>
                    <a:pt x="946" y="1924"/>
                  </a:lnTo>
                  <a:lnTo>
                    <a:pt x="970" y="1912"/>
                  </a:lnTo>
                  <a:lnTo>
                    <a:pt x="984" y="1902"/>
                  </a:lnTo>
                  <a:lnTo>
                    <a:pt x="1012" y="1874"/>
                  </a:lnTo>
                  <a:lnTo>
                    <a:pt x="1016" y="1868"/>
                  </a:lnTo>
                  <a:lnTo>
                    <a:pt x="1020" y="1862"/>
                  </a:lnTo>
                  <a:lnTo>
                    <a:pt x="1044" y="1808"/>
                  </a:lnTo>
                  <a:lnTo>
                    <a:pt x="1048" y="1792"/>
                  </a:lnTo>
                  <a:lnTo>
                    <a:pt x="1054" y="1770"/>
                  </a:lnTo>
                  <a:lnTo>
                    <a:pt x="1054" y="1766"/>
                  </a:lnTo>
                  <a:lnTo>
                    <a:pt x="1054" y="1764"/>
                  </a:lnTo>
                  <a:lnTo>
                    <a:pt x="1050" y="1764"/>
                  </a:lnTo>
                  <a:lnTo>
                    <a:pt x="1048" y="1764"/>
                  </a:lnTo>
                  <a:lnTo>
                    <a:pt x="976" y="1780"/>
                  </a:lnTo>
                  <a:lnTo>
                    <a:pt x="968" y="1780"/>
                  </a:lnTo>
                  <a:lnTo>
                    <a:pt x="960" y="1778"/>
                  </a:lnTo>
                  <a:lnTo>
                    <a:pt x="956" y="1774"/>
                  </a:lnTo>
                  <a:lnTo>
                    <a:pt x="944" y="1766"/>
                  </a:lnTo>
                  <a:lnTo>
                    <a:pt x="934" y="1754"/>
                  </a:lnTo>
                  <a:lnTo>
                    <a:pt x="904" y="1710"/>
                  </a:lnTo>
                  <a:lnTo>
                    <a:pt x="898" y="1704"/>
                  </a:lnTo>
                  <a:lnTo>
                    <a:pt x="892" y="1700"/>
                  </a:lnTo>
                  <a:lnTo>
                    <a:pt x="886" y="1696"/>
                  </a:lnTo>
                  <a:lnTo>
                    <a:pt x="880" y="1692"/>
                  </a:lnTo>
                  <a:lnTo>
                    <a:pt x="876" y="1686"/>
                  </a:lnTo>
                  <a:lnTo>
                    <a:pt x="864" y="1670"/>
                  </a:lnTo>
                  <a:lnTo>
                    <a:pt x="860" y="1664"/>
                  </a:lnTo>
                  <a:lnTo>
                    <a:pt x="858" y="1656"/>
                  </a:lnTo>
                  <a:lnTo>
                    <a:pt x="852" y="1642"/>
                  </a:lnTo>
                  <a:lnTo>
                    <a:pt x="848" y="1626"/>
                  </a:lnTo>
                  <a:lnTo>
                    <a:pt x="842" y="1602"/>
                  </a:lnTo>
                  <a:lnTo>
                    <a:pt x="840" y="1596"/>
                  </a:lnTo>
                  <a:lnTo>
                    <a:pt x="834" y="1590"/>
                  </a:lnTo>
                  <a:lnTo>
                    <a:pt x="826" y="1582"/>
                  </a:lnTo>
                  <a:lnTo>
                    <a:pt x="822" y="1574"/>
                  </a:lnTo>
                  <a:lnTo>
                    <a:pt x="818" y="1568"/>
                  </a:lnTo>
                  <a:lnTo>
                    <a:pt x="814" y="1544"/>
                  </a:lnTo>
                  <a:lnTo>
                    <a:pt x="808" y="1530"/>
                  </a:lnTo>
                  <a:lnTo>
                    <a:pt x="796" y="1504"/>
                  </a:lnTo>
                  <a:lnTo>
                    <a:pt x="786" y="1492"/>
                  </a:lnTo>
                  <a:lnTo>
                    <a:pt x="768" y="1474"/>
                  </a:lnTo>
                  <a:lnTo>
                    <a:pt x="766" y="1470"/>
                  </a:lnTo>
                  <a:lnTo>
                    <a:pt x="770" y="1472"/>
                  </a:lnTo>
                  <a:lnTo>
                    <a:pt x="794" y="1484"/>
                  </a:lnTo>
                  <a:lnTo>
                    <a:pt x="798" y="1484"/>
                  </a:lnTo>
                  <a:lnTo>
                    <a:pt x="800" y="1484"/>
                  </a:lnTo>
                  <a:lnTo>
                    <a:pt x="804" y="1482"/>
                  </a:lnTo>
                  <a:lnTo>
                    <a:pt x="804" y="1480"/>
                  </a:lnTo>
                  <a:lnTo>
                    <a:pt x="808" y="1476"/>
                  </a:lnTo>
                  <a:lnTo>
                    <a:pt x="810" y="1474"/>
                  </a:lnTo>
                  <a:lnTo>
                    <a:pt x="810" y="1472"/>
                  </a:lnTo>
                  <a:lnTo>
                    <a:pt x="812" y="1474"/>
                  </a:lnTo>
                  <a:lnTo>
                    <a:pt x="814" y="1476"/>
                  </a:lnTo>
                  <a:lnTo>
                    <a:pt x="818" y="1480"/>
                  </a:lnTo>
                  <a:lnTo>
                    <a:pt x="824" y="1494"/>
                  </a:lnTo>
                  <a:lnTo>
                    <a:pt x="856" y="1550"/>
                  </a:lnTo>
                  <a:lnTo>
                    <a:pt x="866" y="1562"/>
                  </a:lnTo>
                  <a:lnTo>
                    <a:pt x="874" y="1570"/>
                  </a:lnTo>
                  <a:lnTo>
                    <a:pt x="878" y="1576"/>
                  </a:lnTo>
                  <a:lnTo>
                    <a:pt x="882" y="1584"/>
                  </a:lnTo>
                  <a:lnTo>
                    <a:pt x="886" y="1598"/>
                  </a:lnTo>
                  <a:lnTo>
                    <a:pt x="892" y="1614"/>
                  </a:lnTo>
                  <a:lnTo>
                    <a:pt x="898" y="1636"/>
                  </a:lnTo>
                  <a:lnTo>
                    <a:pt x="900" y="1644"/>
                  </a:lnTo>
                  <a:lnTo>
                    <a:pt x="904" y="1650"/>
                  </a:lnTo>
                  <a:lnTo>
                    <a:pt x="924" y="1668"/>
                  </a:lnTo>
                  <a:lnTo>
                    <a:pt x="928" y="1674"/>
                  </a:lnTo>
                  <a:lnTo>
                    <a:pt x="928" y="1678"/>
                  </a:lnTo>
                  <a:lnTo>
                    <a:pt x="928" y="1684"/>
                  </a:lnTo>
                  <a:lnTo>
                    <a:pt x="932" y="1690"/>
                  </a:lnTo>
                  <a:lnTo>
                    <a:pt x="936" y="1696"/>
                  </a:lnTo>
                  <a:lnTo>
                    <a:pt x="942" y="1710"/>
                  </a:lnTo>
                  <a:lnTo>
                    <a:pt x="954" y="1736"/>
                  </a:lnTo>
                  <a:lnTo>
                    <a:pt x="960" y="1740"/>
                  </a:lnTo>
                  <a:lnTo>
                    <a:pt x="966" y="1740"/>
                  </a:lnTo>
                  <a:lnTo>
                    <a:pt x="980" y="1736"/>
                  </a:lnTo>
                  <a:lnTo>
                    <a:pt x="996" y="1732"/>
                  </a:lnTo>
                  <a:lnTo>
                    <a:pt x="1000" y="1732"/>
                  </a:lnTo>
                  <a:lnTo>
                    <a:pt x="1006" y="1732"/>
                  </a:lnTo>
                  <a:lnTo>
                    <a:pt x="1012" y="1728"/>
                  </a:lnTo>
                  <a:lnTo>
                    <a:pt x="1020" y="1718"/>
                  </a:lnTo>
                  <a:lnTo>
                    <a:pt x="1028" y="1714"/>
                  </a:lnTo>
                  <a:lnTo>
                    <a:pt x="1034" y="1710"/>
                  </a:lnTo>
                  <a:lnTo>
                    <a:pt x="1048" y="1706"/>
                  </a:lnTo>
                  <a:lnTo>
                    <a:pt x="1064" y="1700"/>
                  </a:lnTo>
                  <a:lnTo>
                    <a:pt x="1088" y="1688"/>
                  </a:lnTo>
                  <a:lnTo>
                    <a:pt x="1096" y="1684"/>
                  </a:lnTo>
                  <a:lnTo>
                    <a:pt x="1102" y="1680"/>
                  </a:lnTo>
                  <a:lnTo>
                    <a:pt x="1128" y="1668"/>
                  </a:lnTo>
                  <a:lnTo>
                    <a:pt x="1134" y="1664"/>
                  </a:lnTo>
                  <a:lnTo>
                    <a:pt x="1140" y="1658"/>
                  </a:lnTo>
                  <a:lnTo>
                    <a:pt x="1158" y="1632"/>
                  </a:lnTo>
                  <a:lnTo>
                    <a:pt x="1168" y="1618"/>
                  </a:lnTo>
                  <a:lnTo>
                    <a:pt x="1170" y="1612"/>
                  </a:lnTo>
                  <a:lnTo>
                    <a:pt x="1180" y="1600"/>
                  </a:lnTo>
                  <a:lnTo>
                    <a:pt x="1188" y="1592"/>
                  </a:lnTo>
                  <a:lnTo>
                    <a:pt x="1188" y="1588"/>
                  </a:lnTo>
                  <a:lnTo>
                    <a:pt x="1190" y="1586"/>
                  </a:lnTo>
                  <a:lnTo>
                    <a:pt x="1188" y="1584"/>
                  </a:lnTo>
                  <a:lnTo>
                    <a:pt x="1186" y="1582"/>
                  </a:lnTo>
                  <a:lnTo>
                    <a:pt x="1160" y="1562"/>
                  </a:lnTo>
                  <a:lnTo>
                    <a:pt x="1154" y="1558"/>
                  </a:lnTo>
                  <a:lnTo>
                    <a:pt x="1148" y="1556"/>
                  </a:lnTo>
                  <a:lnTo>
                    <a:pt x="1144" y="1554"/>
                  </a:lnTo>
                  <a:lnTo>
                    <a:pt x="1140" y="1548"/>
                  </a:lnTo>
                  <a:lnTo>
                    <a:pt x="1138" y="1544"/>
                  </a:lnTo>
                  <a:lnTo>
                    <a:pt x="1132" y="1540"/>
                  </a:lnTo>
                  <a:lnTo>
                    <a:pt x="1126" y="1538"/>
                  </a:lnTo>
                  <a:lnTo>
                    <a:pt x="1102" y="1544"/>
                  </a:lnTo>
                  <a:lnTo>
                    <a:pt x="1096" y="1544"/>
                  </a:lnTo>
                  <a:lnTo>
                    <a:pt x="1088" y="1542"/>
                  </a:lnTo>
                  <a:lnTo>
                    <a:pt x="1082" y="1540"/>
                  </a:lnTo>
                  <a:lnTo>
                    <a:pt x="1076" y="1536"/>
                  </a:lnTo>
                  <a:lnTo>
                    <a:pt x="1070" y="1536"/>
                  </a:lnTo>
                  <a:lnTo>
                    <a:pt x="1058" y="1534"/>
                  </a:lnTo>
                  <a:lnTo>
                    <a:pt x="1054" y="1530"/>
                  </a:lnTo>
                  <a:lnTo>
                    <a:pt x="1048" y="1526"/>
                  </a:lnTo>
                  <a:lnTo>
                    <a:pt x="1044" y="1520"/>
                  </a:lnTo>
                  <a:lnTo>
                    <a:pt x="1040" y="1506"/>
                  </a:lnTo>
                  <a:lnTo>
                    <a:pt x="1036" y="1498"/>
                  </a:lnTo>
                  <a:lnTo>
                    <a:pt x="1032" y="1492"/>
                  </a:lnTo>
                  <a:lnTo>
                    <a:pt x="1022" y="1484"/>
                  </a:lnTo>
                  <a:lnTo>
                    <a:pt x="1018" y="1478"/>
                  </a:lnTo>
                  <a:lnTo>
                    <a:pt x="1018" y="1472"/>
                  </a:lnTo>
                  <a:lnTo>
                    <a:pt x="1018" y="1468"/>
                  </a:lnTo>
                  <a:lnTo>
                    <a:pt x="1022" y="1462"/>
                  </a:lnTo>
                  <a:lnTo>
                    <a:pt x="1026" y="1458"/>
                  </a:lnTo>
                  <a:lnTo>
                    <a:pt x="1026" y="1452"/>
                  </a:lnTo>
                  <a:lnTo>
                    <a:pt x="1028" y="1452"/>
                  </a:lnTo>
                  <a:lnTo>
                    <a:pt x="1032" y="1454"/>
                  </a:lnTo>
                  <a:lnTo>
                    <a:pt x="1040" y="1462"/>
                  </a:lnTo>
                  <a:lnTo>
                    <a:pt x="1052" y="1474"/>
                  </a:lnTo>
                  <a:lnTo>
                    <a:pt x="1060" y="1482"/>
                  </a:lnTo>
                  <a:lnTo>
                    <a:pt x="1072" y="1492"/>
                  </a:lnTo>
                  <a:lnTo>
                    <a:pt x="1088" y="1504"/>
                  </a:lnTo>
                  <a:lnTo>
                    <a:pt x="1102" y="1510"/>
                  </a:lnTo>
                  <a:lnTo>
                    <a:pt x="1116" y="1514"/>
                  </a:lnTo>
                  <a:lnTo>
                    <a:pt x="1124" y="1516"/>
                  </a:lnTo>
                  <a:lnTo>
                    <a:pt x="1132" y="1514"/>
                  </a:lnTo>
                  <a:lnTo>
                    <a:pt x="1136" y="1510"/>
                  </a:lnTo>
                  <a:lnTo>
                    <a:pt x="1144" y="1510"/>
                  </a:lnTo>
                  <a:lnTo>
                    <a:pt x="1150" y="1514"/>
                  </a:lnTo>
                  <a:lnTo>
                    <a:pt x="1158" y="1522"/>
                  </a:lnTo>
                  <a:lnTo>
                    <a:pt x="1164" y="1526"/>
                  </a:lnTo>
                  <a:lnTo>
                    <a:pt x="1172" y="1530"/>
                  </a:lnTo>
                  <a:lnTo>
                    <a:pt x="1206" y="1544"/>
                  </a:lnTo>
                  <a:lnTo>
                    <a:pt x="1218" y="1546"/>
                  </a:lnTo>
                  <a:lnTo>
                    <a:pt x="1222" y="1546"/>
                  </a:lnTo>
                  <a:lnTo>
                    <a:pt x="1230" y="1544"/>
                  </a:lnTo>
                  <a:lnTo>
                    <a:pt x="1244" y="1538"/>
                  </a:lnTo>
                  <a:lnTo>
                    <a:pt x="1260" y="1536"/>
                  </a:lnTo>
                  <a:lnTo>
                    <a:pt x="1292" y="1536"/>
                  </a:lnTo>
                  <a:lnTo>
                    <a:pt x="1300" y="1538"/>
                  </a:lnTo>
                  <a:lnTo>
                    <a:pt x="1306" y="1544"/>
                  </a:lnTo>
                  <a:lnTo>
                    <a:pt x="1316" y="1558"/>
                  </a:lnTo>
                  <a:lnTo>
                    <a:pt x="1320" y="1566"/>
                  </a:lnTo>
                  <a:lnTo>
                    <a:pt x="1326" y="1572"/>
                  </a:lnTo>
                  <a:lnTo>
                    <a:pt x="1336" y="1588"/>
                  </a:lnTo>
                  <a:lnTo>
                    <a:pt x="1346" y="1602"/>
                  </a:lnTo>
                  <a:lnTo>
                    <a:pt x="1354" y="1610"/>
                  </a:lnTo>
                  <a:lnTo>
                    <a:pt x="1360" y="1612"/>
                  </a:lnTo>
                  <a:lnTo>
                    <a:pt x="1366" y="1610"/>
                  </a:lnTo>
                  <a:lnTo>
                    <a:pt x="1382" y="1600"/>
                  </a:lnTo>
                  <a:lnTo>
                    <a:pt x="1386" y="1598"/>
                  </a:lnTo>
                  <a:lnTo>
                    <a:pt x="1388" y="1600"/>
                  </a:lnTo>
                  <a:lnTo>
                    <a:pt x="1390" y="1600"/>
                  </a:lnTo>
                  <a:lnTo>
                    <a:pt x="1390" y="1604"/>
                  </a:lnTo>
                  <a:lnTo>
                    <a:pt x="1398" y="1676"/>
                  </a:lnTo>
                  <a:lnTo>
                    <a:pt x="1402" y="1692"/>
                  </a:lnTo>
                  <a:lnTo>
                    <a:pt x="1408" y="1714"/>
                  </a:lnTo>
                  <a:lnTo>
                    <a:pt x="1414" y="1730"/>
                  </a:lnTo>
                  <a:lnTo>
                    <a:pt x="1434" y="1764"/>
                  </a:lnTo>
                  <a:lnTo>
                    <a:pt x="1442" y="1778"/>
                  </a:lnTo>
                  <a:lnTo>
                    <a:pt x="1444" y="1784"/>
                  </a:lnTo>
                  <a:lnTo>
                    <a:pt x="1452" y="1798"/>
                  </a:lnTo>
                  <a:lnTo>
                    <a:pt x="1464" y="1814"/>
                  </a:lnTo>
                  <a:lnTo>
                    <a:pt x="1466" y="1816"/>
                  </a:lnTo>
                  <a:lnTo>
                    <a:pt x="1468" y="1816"/>
                  </a:lnTo>
                  <a:lnTo>
                    <a:pt x="1470" y="1816"/>
                  </a:lnTo>
                  <a:lnTo>
                    <a:pt x="1472" y="1814"/>
                  </a:lnTo>
                  <a:lnTo>
                    <a:pt x="1474" y="1808"/>
                  </a:lnTo>
                  <a:lnTo>
                    <a:pt x="1484" y="1796"/>
                  </a:lnTo>
                  <a:lnTo>
                    <a:pt x="1492" y="1786"/>
                  </a:lnTo>
                  <a:lnTo>
                    <a:pt x="1500" y="1774"/>
                  </a:lnTo>
                  <a:lnTo>
                    <a:pt x="1504" y="1768"/>
                  </a:lnTo>
                  <a:lnTo>
                    <a:pt x="1506" y="1762"/>
                  </a:lnTo>
                  <a:lnTo>
                    <a:pt x="1506" y="1754"/>
                  </a:lnTo>
                  <a:lnTo>
                    <a:pt x="1506" y="1730"/>
                  </a:lnTo>
                  <a:lnTo>
                    <a:pt x="1510" y="1716"/>
                  </a:lnTo>
                  <a:lnTo>
                    <a:pt x="1514" y="1700"/>
                  </a:lnTo>
                  <a:lnTo>
                    <a:pt x="1518" y="1694"/>
                  </a:lnTo>
                  <a:lnTo>
                    <a:pt x="1522" y="1688"/>
                  </a:lnTo>
                  <a:lnTo>
                    <a:pt x="1540" y="1670"/>
                  </a:lnTo>
                  <a:lnTo>
                    <a:pt x="1554" y="1660"/>
                  </a:lnTo>
                  <a:lnTo>
                    <a:pt x="1578" y="1648"/>
                  </a:lnTo>
                  <a:lnTo>
                    <a:pt x="1590" y="1638"/>
                  </a:lnTo>
                  <a:lnTo>
                    <a:pt x="1598" y="1630"/>
                  </a:lnTo>
                  <a:lnTo>
                    <a:pt x="1604" y="1624"/>
                  </a:lnTo>
                  <a:lnTo>
                    <a:pt x="1608" y="1618"/>
                  </a:lnTo>
                  <a:lnTo>
                    <a:pt x="1612" y="1604"/>
                  </a:lnTo>
                  <a:lnTo>
                    <a:pt x="1616" y="1598"/>
                  </a:lnTo>
                  <a:lnTo>
                    <a:pt x="1622" y="1596"/>
                  </a:lnTo>
                  <a:lnTo>
                    <a:pt x="1636" y="1596"/>
                  </a:lnTo>
                  <a:lnTo>
                    <a:pt x="1644" y="1596"/>
                  </a:lnTo>
                  <a:lnTo>
                    <a:pt x="1652" y="1592"/>
                  </a:lnTo>
                  <a:lnTo>
                    <a:pt x="1666" y="1588"/>
                  </a:lnTo>
                  <a:lnTo>
                    <a:pt x="1676" y="1586"/>
                  </a:lnTo>
                  <a:lnTo>
                    <a:pt x="1686" y="1588"/>
                  </a:lnTo>
                  <a:lnTo>
                    <a:pt x="1688" y="1590"/>
                  </a:lnTo>
                  <a:lnTo>
                    <a:pt x="1694" y="1594"/>
                  </a:lnTo>
                  <a:lnTo>
                    <a:pt x="1700" y="1598"/>
                  </a:lnTo>
                  <a:lnTo>
                    <a:pt x="1702" y="1604"/>
                  </a:lnTo>
                  <a:lnTo>
                    <a:pt x="1706" y="1612"/>
                  </a:lnTo>
                  <a:lnTo>
                    <a:pt x="1708" y="1618"/>
                  </a:lnTo>
                  <a:lnTo>
                    <a:pt x="1714" y="1632"/>
                  </a:lnTo>
                  <a:lnTo>
                    <a:pt x="1728" y="1676"/>
                  </a:lnTo>
                  <a:lnTo>
                    <a:pt x="1732" y="1682"/>
                  </a:lnTo>
                  <a:lnTo>
                    <a:pt x="1738" y="1688"/>
                  </a:lnTo>
                  <a:lnTo>
                    <a:pt x="1744" y="1690"/>
                  </a:lnTo>
                  <a:lnTo>
                    <a:pt x="1750" y="1692"/>
                  </a:lnTo>
                  <a:lnTo>
                    <a:pt x="1758" y="1690"/>
                  </a:lnTo>
                  <a:lnTo>
                    <a:pt x="1764" y="1688"/>
                  </a:lnTo>
                  <a:lnTo>
                    <a:pt x="1770" y="1686"/>
                  </a:lnTo>
                  <a:lnTo>
                    <a:pt x="1776" y="1688"/>
                  </a:lnTo>
                  <a:lnTo>
                    <a:pt x="1780" y="1694"/>
                  </a:lnTo>
                  <a:lnTo>
                    <a:pt x="1782" y="1700"/>
                  </a:lnTo>
                  <a:lnTo>
                    <a:pt x="1788" y="1716"/>
                  </a:lnTo>
                  <a:lnTo>
                    <a:pt x="1790" y="1730"/>
                  </a:lnTo>
                  <a:lnTo>
                    <a:pt x="1790" y="1754"/>
                  </a:lnTo>
                  <a:lnTo>
                    <a:pt x="1790" y="1770"/>
                  </a:lnTo>
                  <a:lnTo>
                    <a:pt x="1790" y="1802"/>
                  </a:lnTo>
                  <a:lnTo>
                    <a:pt x="1792" y="1810"/>
                  </a:lnTo>
                  <a:lnTo>
                    <a:pt x="1796" y="1816"/>
                  </a:lnTo>
                  <a:lnTo>
                    <a:pt x="1804" y="1824"/>
                  </a:lnTo>
                  <a:lnTo>
                    <a:pt x="1814" y="1838"/>
                  </a:lnTo>
                  <a:lnTo>
                    <a:pt x="1816" y="1842"/>
                  </a:lnTo>
                  <a:lnTo>
                    <a:pt x="1822" y="1858"/>
                  </a:lnTo>
                  <a:lnTo>
                    <a:pt x="1826" y="1862"/>
                  </a:lnTo>
                  <a:lnTo>
                    <a:pt x="1834" y="1876"/>
                  </a:lnTo>
                  <a:lnTo>
                    <a:pt x="1842" y="1884"/>
                  </a:lnTo>
                  <a:lnTo>
                    <a:pt x="1854" y="1894"/>
                  </a:lnTo>
                  <a:lnTo>
                    <a:pt x="1872" y="1912"/>
                  </a:lnTo>
                  <a:lnTo>
                    <a:pt x="1878" y="1916"/>
                  </a:lnTo>
                  <a:lnTo>
                    <a:pt x="1880" y="1914"/>
                  </a:lnTo>
                  <a:lnTo>
                    <a:pt x="1884" y="1914"/>
                  </a:lnTo>
                  <a:lnTo>
                    <a:pt x="1886" y="1908"/>
                  </a:lnTo>
                  <a:lnTo>
                    <a:pt x="1886" y="1900"/>
                  </a:lnTo>
                  <a:lnTo>
                    <a:pt x="1880" y="1886"/>
                  </a:lnTo>
                  <a:lnTo>
                    <a:pt x="1874" y="1872"/>
                  </a:lnTo>
                  <a:lnTo>
                    <a:pt x="1872" y="1866"/>
                  </a:lnTo>
                  <a:lnTo>
                    <a:pt x="1862" y="1854"/>
                  </a:lnTo>
                  <a:lnTo>
                    <a:pt x="1854" y="1846"/>
                  </a:lnTo>
                  <a:lnTo>
                    <a:pt x="1842" y="1836"/>
                  </a:lnTo>
                  <a:lnTo>
                    <a:pt x="1836" y="1834"/>
                  </a:lnTo>
                  <a:lnTo>
                    <a:pt x="1824" y="1826"/>
                  </a:lnTo>
                  <a:lnTo>
                    <a:pt x="1820" y="1820"/>
                  </a:lnTo>
                  <a:lnTo>
                    <a:pt x="1818" y="1812"/>
                  </a:lnTo>
                  <a:lnTo>
                    <a:pt x="1812" y="1790"/>
                  </a:lnTo>
                  <a:lnTo>
                    <a:pt x="1810" y="1774"/>
                  </a:lnTo>
                  <a:lnTo>
                    <a:pt x="1810" y="1770"/>
                  </a:lnTo>
                  <a:lnTo>
                    <a:pt x="1812" y="1754"/>
                  </a:lnTo>
                  <a:lnTo>
                    <a:pt x="1816" y="1740"/>
                  </a:lnTo>
                  <a:lnTo>
                    <a:pt x="1818" y="1736"/>
                  </a:lnTo>
                  <a:lnTo>
                    <a:pt x="1820" y="1734"/>
                  </a:lnTo>
                  <a:lnTo>
                    <a:pt x="1824" y="1734"/>
                  </a:lnTo>
                  <a:lnTo>
                    <a:pt x="1826" y="1734"/>
                  </a:lnTo>
                  <a:lnTo>
                    <a:pt x="1842" y="1740"/>
                  </a:lnTo>
                  <a:lnTo>
                    <a:pt x="1848" y="1742"/>
                  </a:lnTo>
                  <a:lnTo>
                    <a:pt x="1854" y="1746"/>
                  </a:lnTo>
                  <a:lnTo>
                    <a:pt x="1858" y="1752"/>
                  </a:lnTo>
                  <a:lnTo>
                    <a:pt x="1864" y="1758"/>
                  </a:lnTo>
                  <a:lnTo>
                    <a:pt x="1872" y="1766"/>
                  </a:lnTo>
                  <a:lnTo>
                    <a:pt x="1884" y="1776"/>
                  </a:lnTo>
                  <a:lnTo>
                    <a:pt x="1888" y="1782"/>
                  </a:lnTo>
                  <a:lnTo>
                    <a:pt x="1894" y="1780"/>
                  </a:lnTo>
                  <a:lnTo>
                    <a:pt x="1898" y="1782"/>
                  </a:lnTo>
                  <a:lnTo>
                    <a:pt x="1902" y="1788"/>
                  </a:lnTo>
                  <a:lnTo>
                    <a:pt x="1904" y="1794"/>
                  </a:lnTo>
                  <a:lnTo>
                    <a:pt x="1906" y="1796"/>
                  </a:lnTo>
                  <a:lnTo>
                    <a:pt x="1908" y="1798"/>
                  </a:lnTo>
                  <a:lnTo>
                    <a:pt x="1912" y="1798"/>
                  </a:lnTo>
                  <a:lnTo>
                    <a:pt x="1914" y="1796"/>
                  </a:lnTo>
                  <a:lnTo>
                    <a:pt x="1940" y="1776"/>
                  </a:lnTo>
                  <a:lnTo>
                    <a:pt x="1952" y="1766"/>
                  </a:lnTo>
                  <a:lnTo>
                    <a:pt x="1962" y="1758"/>
                  </a:lnTo>
                  <a:lnTo>
                    <a:pt x="1964" y="1752"/>
                  </a:lnTo>
                  <a:lnTo>
                    <a:pt x="1964" y="1744"/>
                  </a:lnTo>
                  <a:lnTo>
                    <a:pt x="1950" y="1690"/>
                  </a:lnTo>
                  <a:lnTo>
                    <a:pt x="1946" y="1684"/>
                  </a:lnTo>
                  <a:lnTo>
                    <a:pt x="1942" y="1678"/>
                  </a:lnTo>
                  <a:lnTo>
                    <a:pt x="1932" y="1666"/>
                  </a:lnTo>
                  <a:lnTo>
                    <a:pt x="1922" y="1650"/>
                  </a:lnTo>
                  <a:lnTo>
                    <a:pt x="1914" y="1636"/>
                  </a:lnTo>
                  <a:lnTo>
                    <a:pt x="1912" y="1632"/>
                  </a:lnTo>
                  <a:lnTo>
                    <a:pt x="1910" y="1626"/>
                  </a:lnTo>
                  <a:lnTo>
                    <a:pt x="1912" y="1620"/>
                  </a:lnTo>
                  <a:lnTo>
                    <a:pt x="1924" y="1612"/>
                  </a:lnTo>
                  <a:lnTo>
                    <a:pt x="1930" y="1608"/>
                  </a:lnTo>
                  <a:lnTo>
                    <a:pt x="1942" y="1606"/>
                  </a:lnTo>
                  <a:lnTo>
                    <a:pt x="1948" y="1606"/>
                  </a:lnTo>
                  <a:lnTo>
                    <a:pt x="1954" y="1610"/>
                  </a:lnTo>
                  <a:lnTo>
                    <a:pt x="1970" y="1620"/>
                  </a:lnTo>
                  <a:lnTo>
                    <a:pt x="1972" y="1622"/>
                  </a:lnTo>
                  <a:lnTo>
                    <a:pt x="1974" y="1620"/>
                  </a:lnTo>
                  <a:lnTo>
                    <a:pt x="1976" y="1620"/>
                  </a:lnTo>
                  <a:lnTo>
                    <a:pt x="1976" y="1616"/>
                  </a:lnTo>
                  <a:lnTo>
                    <a:pt x="1976" y="1614"/>
                  </a:lnTo>
                  <a:lnTo>
                    <a:pt x="1978" y="1606"/>
                  </a:lnTo>
                  <a:lnTo>
                    <a:pt x="1984" y="1604"/>
                  </a:lnTo>
                  <a:lnTo>
                    <a:pt x="2008" y="1598"/>
                  </a:lnTo>
                  <a:lnTo>
                    <a:pt x="2014" y="1594"/>
                  </a:lnTo>
                  <a:lnTo>
                    <a:pt x="2020" y="1590"/>
                  </a:lnTo>
                  <a:lnTo>
                    <a:pt x="2024" y="1586"/>
                  </a:lnTo>
                  <a:lnTo>
                    <a:pt x="2030" y="1586"/>
                  </a:lnTo>
                  <a:lnTo>
                    <a:pt x="2040" y="1586"/>
                  </a:lnTo>
                  <a:lnTo>
                    <a:pt x="2052" y="1582"/>
                  </a:lnTo>
                  <a:lnTo>
                    <a:pt x="2056" y="1580"/>
                  </a:lnTo>
                  <a:lnTo>
                    <a:pt x="2072" y="1572"/>
                  </a:lnTo>
                  <a:lnTo>
                    <a:pt x="2076" y="1570"/>
                  </a:lnTo>
                  <a:lnTo>
                    <a:pt x="2090" y="1562"/>
                  </a:lnTo>
                  <a:lnTo>
                    <a:pt x="2106" y="1550"/>
                  </a:lnTo>
                  <a:lnTo>
                    <a:pt x="2112" y="1546"/>
                  </a:lnTo>
                  <a:lnTo>
                    <a:pt x="2116" y="1540"/>
                  </a:lnTo>
                  <a:lnTo>
                    <a:pt x="2120" y="1534"/>
                  </a:lnTo>
                  <a:lnTo>
                    <a:pt x="2126" y="1520"/>
                  </a:lnTo>
                  <a:lnTo>
                    <a:pt x="2130" y="1514"/>
                  </a:lnTo>
                  <a:lnTo>
                    <a:pt x="2138" y="1500"/>
                  </a:lnTo>
                  <a:lnTo>
                    <a:pt x="2148" y="1484"/>
                  </a:lnTo>
                  <a:lnTo>
                    <a:pt x="2150" y="1478"/>
                  </a:lnTo>
                  <a:lnTo>
                    <a:pt x="2152" y="1470"/>
                  </a:lnTo>
                  <a:lnTo>
                    <a:pt x="2152" y="1466"/>
                  </a:lnTo>
                  <a:lnTo>
                    <a:pt x="2150" y="1460"/>
                  </a:lnTo>
                  <a:lnTo>
                    <a:pt x="2148" y="1454"/>
                  </a:lnTo>
                  <a:lnTo>
                    <a:pt x="2146" y="1448"/>
                  </a:lnTo>
                  <a:lnTo>
                    <a:pt x="2148" y="1444"/>
                  </a:lnTo>
                  <a:lnTo>
                    <a:pt x="2150" y="1438"/>
                  </a:lnTo>
                  <a:lnTo>
                    <a:pt x="2148" y="1432"/>
                  </a:lnTo>
                  <a:lnTo>
                    <a:pt x="2146" y="1426"/>
                  </a:lnTo>
                  <a:lnTo>
                    <a:pt x="2140" y="1412"/>
                  </a:lnTo>
                  <a:lnTo>
                    <a:pt x="2126" y="1378"/>
                  </a:lnTo>
                  <a:lnTo>
                    <a:pt x="2122" y="1366"/>
                  </a:lnTo>
                  <a:lnTo>
                    <a:pt x="2124" y="1360"/>
                  </a:lnTo>
                  <a:lnTo>
                    <a:pt x="2128" y="1354"/>
                  </a:lnTo>
                  <a:lnTo>
                    <a:pt x="2136" y="1346"/>
                  </a:lnTo>
                  <a:lnTo>
                    <a:pt x="2150" y="1338"/>
                  </a:lnTo>
                  <a:lnTo>
                    <a:pt x="2154" y="1334"/>
                  </a:lnTo>
                  <a:lnTo>
                    <a:pt x="2160" y="1330"/>
                  </a:lnTo>
                  <a:lnTo>
                    <a:pt x="2162" y="1326"/>
                  </a:lnTo>
                  <a:lnTo>
                    <a:pt x="2160" y="1322"/>
                  </a:lnTo>
                  <a:lnTo>
                    <a:pt x="2154" y="1322"/>
                  </a:lnTo>
                  <a:lnTo>
                    <a:pt x="2140" y="1322"/>
                  </a:lnTo>
                  <a:lnTo>
                    <a:pt x="2128" y="1322"/>
                  </a:lnTo>
                  <a:lnTo>
                    <a:pt x="2118" y="1322"/>
                  </a:lnTo>
                  <a:lnTo>
                    <a:pt x="2114" y="1320"/>
                  </a:lnTo>
                  <a:lnTo>
                    <a:pt x="2110" y="1314"/>
                  </a:lnTo>
                  <a:lnTo>
                    <a:pt x="2106" y="1308"/>
                  </a:lnTo>
                  <a:lnTo>
                    <a:pt x="2098" y="1296"/>
                  </a:lnTo>
                  <a:lnTo>
                    <a:pt x="2096" y="1294"/>
                  </a:lnTo>
                  <a:lnTo>
                    <a:pt x="2096" y="1292"/>
                  </a:lnTo>
                  <a:lnTo>
                    <a:pt x="2100" y="1288"/>
                  </a:lnTo>
                  <a:lnTo>
                    <a:pt x="2106" y="1286"/>
                  </a:lnTo>
                  <a:lnTo>
                    <a:pt x="2120" y="1278"/>
                  </a:lnTo>
                  <a:lnTo>
                    <a:pt x="2126" y="1276"/>
                  </a:lnTo>
                  <a:lnTo>
                    <a:pt x="2138" y="1266"/>
                  </a:lnTo>
                  <a:lnTo>
                    <a:pt x="2146" y="1258"/>
                  </a:lnTo>
                  <a:lnTo>
                    <a:pt x="2152" y="1254"/>
                  </a:lnTo>
                  <a:lnTo>
                    <a:pt x="2158" y="1252"/>
                  </a:lnTo>
                  <a:lnTo>
                    <a:pt x="2158" y="1254"/>
                  </a:lnTo>
                  <a:lnTo>
                    <a:pt x="2160" y="1254"/>
                  </a:lnTo>
                  <a:lnTo>
                    <a:pt x="2158" y="1260"/>
                  </a:lnTo>
                  <a:lnTo>
                    <a:pt x="2156" y="1266"/>
                  </a:lnTo>
                  <a:lnTo>
                    <a:pt x="2154" y="1272"/>
                  </a:lnTo>
                  <a:lnTo>
                    <a:pt x="2158" y="1278"/>
                  </a:lnTo>
                  <a:lnTo>
                    <a:pt x="2162" y="1280"/>
                  </a:lnTo>
                  <a:lnTo>
                    <a:pt x="2166" y="1282"/>
                  </a:lnTo>
                  <a:lnTo>
                    <a:pt x="2180" y="1280"/>
                  </a:lnTo>
                  <a:lnTo>
                    <a:pt x="2194" y="1274"/>
                  </a:lnTo>
                  <a:lnTo>
                    <a:pt x="2202" y="1274"/>
                  </a:lnTo>
                  <a:lnTo>
                    <a:pt x="2208" y="1276"/>
                  </a:lnTo>
                  <a:lnTo>
                    <a:pt x="2214" y="1278"/>
                  </a:lnTo>
                  <a:lnTo>
                    <a:pt x="2220" y="1284"/>
                  </a:lnTo>
                  <a:lnTo>
                    <a:pt x="2224" y="1290"/>
                  </a:lnTo>
                  <a:lnTo>
                    <a:pt x="2228" y="1294"/>
                  </a:lnTo>
                  <a:lnTo>
                    <a:pt x="2230" y="1306"/>
                  </a:lnTo>
                  <a:lnTo>
                    <a:pt x="2230" y="1320"/>
                  </a:lnTo>
                  <a:lnTo>
                    <a:pt x="2230" y="1332"/>
                  </a:lnTo>
                  <a:lnTo>
                    <a:pt x="2228" y="1348"/>
                  </a:lnTo>
                  <a:lnTo>
                    <a:pt x="2224" y="1362"/>
                  </a:lnTo>
                  <a:lnTo>
                    <a:pt x="2222" y="1366"/>
                  </a:lnTo>
                  <a:lnTo>
                    <a:pt x="2224" y="1368"/>
                  </a:lnTo>
                  <a:lnTo>
                    <a:pt x="2226" y="1370"/>
                  </a:lnTo>
                  <a:lnTo>
                    <a:pt x="2228" y="1370"/>
                  </a:lnTo>
                  <a:lnTo>
                    <a:pt x="2232" y="1370"/>
                  </a:lnTo>
                  <a:lnTo>
                    <a:pt x="2240" y="1370"/>
                  </a:lnTo>
                  <a:lnTo>
                    <a:pt x="2248" y="1366"/>
                  </a:lnTo>
                  <a:lnTo>
                    <a:pt x="2252" y="1364"/>
                  </a:lnTo>
                  <a:lnTo>
                    <a:pt x="2264" y="1356"/>
                  </a:lnTo>
                  <a:lnTo>
                    <a:pt x="2274" y="1346"/>
                  </a:lnTo>
                  <a:lnTo>
                    <a:pt x="2278" y="1340"/>
                  </a:lnTo>
                  <a:lnTo>
                    <a:pt x="2276" y="1334"/>
                  </a:lnTo>
                  <a:lnTo>
                    <a:pt x="2264" y="1308"/>
                  </a:lnTo>
                  <a:lnTo>
                    <a:pt x="2260" y="1296"/>
                  </a:lnTo>
                  <a:lnTo>
                    <a:pt x="2260" y="1284"/>
                  </a:lnTo>
                  <a:lnTo>
                    <a:pt x="2260" y="1280"/>
                  </a:lnTo>
                  <a:lnTo>
                    <a:pt x="2260" y="1268"/>
                  </a:lnTo>
                  <a:lnTo>
                    <a:pt x="2256" y="1256"/>
                  </a:lnTo>
                  <a:lnTo>
                    <a:pt x="2254" y="1250"/>
                  </a:lnTo>
                  <a:lnTo>
                    <a:pt x="2252" y="1244"/>
                  </a:lnTo>
                  <a:lnTo>
                    <a:pt x="2256" y="1238"/>
                  </a:lnTo>
                  <a:lnTo>
                    <a:pt x="2266" y="1228"/>
                  </a:lnTo>
                  <a:lnTo>
                    <a:pt x="2274" y="1220"/>
                  </a:lnTo>
                  <a:lnTo>
                    <a:pt x="2280" y="1216"/>
                  </a:lnTo>
                  <a:lnTo>
                    <a:pt x="2286" y="1214"/>
                  </a:lnTo>
                  <a:lnTo>
                    <a:pt x="2290" y="1216"/>
                  </a:lnTo>
                  <a:lnTo>
                    <a:pt x="2292" y="1218"/>
                  </a:lnTo>
                  <a:lnTo>
                    <a:pt x="2292" y="1222"/>
                  </a:lnTo>
                  <a:lnTo>
                    <a:pt x="2294" y="1224"/>
                  </a:lnTo>
                  <a:lnTo>
                    <a:pt x="2304" y="1224"/>
                  </a:lnTo>
                  <a:lnTo>
                    <a:pt x="2310" y="1222"/>
                  </a:lnTo>
                  <a:lnTo>
                    <a:pt x="2314" y="1218"/>
                  </a:lnTo>
                  <a:lnTo>
                    <a:pt x="2320" y="1216"/>
                  </a:lnTo>
                  <a:lnTo>
                    <a:pt x="2326" y="1218"/>
                  </a:lnTo>
                  <a:lnTo>
                    <a:pt x="2332" y="1220"/>
                  </a:lnTo>
                  <a:lnTo>
                    <a:pt x="2338" y="1222"/>
                  </a:lnTo>
                  <a:lnTo>
                    <a:pt x="2344" y="1218"/>
                  </a:lnTo>
                  <a:lnTo>
                    <a:pt x="2362" y="1200"/>
                  </a:lnTo>
                  <a:lnTo>
                    <a:pt x="2374" y="1188"/>
                  </a:lnTo>
                  <a:lnTo>
                    <a:pt x="2382" y="1180"/>
                  </a:lnTo>
                  <a:lnTo>
                    <a:pt x="2392" y="1168"/>
                  </a:lnTo>
                  <a:lnTo>
                    <a:pt x="2422" y="1132"/>
                  </a:lnTo>
                  <a:lnTo>
                    <a:pt x="2430" y="1118"/>
                  </a:lnTo>
                  <a:lnTo>
                    <a:pt x="2442" y="1094"/>
                  </a:lnTo>
                  <a:lnTo>
                    <a:pt x="2446" y="1086"/>
                  </a:lnTo>
                  <a:lnTo>
                    <a:pt x="2446" y="1078"/>
                  </a:lnTo>
                  <a:lnTo>
                    <a:pt x="2446" y="1056"/>
                  </a:lnTo>
                  <a:lnTo>
                    <a:pt x="2448" y="1040"/>
                  </a:lnTo>
                  <a:lnTo>
                    <a:pt x="2454" y="996"/>
                  </a:lnTo>
                  <a:lnTo>
                    <a:pt x="2456" y="980"/>
                  </a:lnTo>
                  <a:lnTo>
                    <a:pt x="2456" y="978"/>
                  </a:lnTo>
                  <a:lnTo>
                    <a:pt x="2454" y="970"/>
                  </a:lnTo>
                  <a:lnTo>
                    <a:pt x="2450" y="964"/>
                  </a:lnTo>
                  <a:lnTo>
                    <a:pt x="2442" y="956"/>
                  </a:lnTo>
                  <a:lnTo>
                    <a:pt x="2436" y="952"/>
                  </a:lnTo>
                  <a:lnTo>
                    <a:pt x="2430" y="954"/>
                  </a:lnTo>
                  <a:lnTo>
                    <a:pt x="2414" y="964"/>
                  </a:lnTo>
                  <a:lnTo>
                    <a:pt x="2406" y="968"/>
                  </a:lnTo>
                  <a:lnTo>
                    <a:pt x="2400" y="966"/>
                  </a:lnTo>
                  <a:lnTo>
                    <a:pt x="2394" y="964"/>
                  </a:lnTo>
                  <a:lnTo>
                    <a:pt x="2388" y="958"/>
                  </a:lnTo>
                  <a:lnTo>
                    <a:pt x="2384" y="952"/>
                  </a:lnTo>
                  <a:lnTo>
                    <a:pt x="2382" y="948"/>
                  </a:lnTo>
                  <a:lnTo>
                    <a:pt x="2378" y="942"/>
                  </a:lnTo>
                  <a:lnTo>
                    <a:pt x="2372" y="940"/>
                  </a:lnTo>
                  <a:lnTo>
                    <a:pt x="2370" y="938"/>
                  </a:lnTo>
                  <a:lnTo>
                    <a:pt x="2372" y="936"/>
                  </a:lnTo>
                  <a:lnTo>
                    <a:pt x="2384" y="924"/>
                  </a:lnTo>
                  <a:lnTo>
                    <a:pt x="2402" y="906"/>
                  </a:lnTo>
                  <a:lnTo>
                    <a:pt x="2412" y="896"/>
                  </a:lnTo>
                  <a:lnTo>
                    <a:pt x="2420" y="888"/>
                  </a:lnTo>
                  <a:lnTo>
                    <a:pt x="2424" y="882"/>
                  </a:lnTo>
                  <a:lnTo>
                    <a:pt x="2426" y="876"/>
                  </a:lnTo>
                  <a:lnTo>
                    <a:pt x="2428" y="872"/>
                  </a:lnTo>
                  <a:lnTo>
                    <a:pt x="2432" y="866"/>
                  </a:lnTo>
                  <a:lnTo>
                    <a:pt x="2490" y="808"/>
                  </a:lnTo>
                  <a:lnTo>
                    <a:pt x="2496" y="804"/>
                  </a:lnTo>
                  <a:lnTo>
                    <a:pt x="2504" y="802"/>
                  </a:lnTo>
                  <a:lnTo>
                    <a:pt x="2506" y="802"/>
                  </a:lnTo>
                  <a:lnTo>
                    <a:pt x="2522" y="802"/>
                  </a:lnTo>
                  <a:lnTo>
                    <a:pt x="2556" y="802"/>
                  </a:lnTo>
                  <a:lnTo>
                    <a:pt x="2564" y="802"/>
                  </a:lnTo>
                  <a:lnTo>
                    <a:pt x="2570" y="800"/>
                  </a:lnTo>
                  <a:lnTo>
                    <a:pt x="2576" y="796"/>
                  </a:lnTo>
                  <a:lnTo>
                    <a:pt x="2584" y="794"/>
                  </a:lnTo>
                  <a:lnTo>
                    <a:pt x="2590" y="796"/>
                  </a:lnTo>
                  <a:lnTo>
                    <a:pt x="2604" y="800"/>
                  </a:lnTo>
                  <a:lnTo>
                    <a:pt x="2610" y="804"/>
                  </a:lnTo>
                  <a:lnTo>
                    <a:pt x="2612" y="810"/>
                  </a:lnTo>
                  <a:lnTo>
                    <a:pt x="2612" y="814"/>
                  </a:lnTo>
                  <a:lnTo>
                    <a:pt x="2614" y="818"/>
                  </a:lnTo>
                  <a:lnTo>
                    <a:pt x="2614" y="820"/>
                  </a:lnTo>
                  <a:lnTo>
                    <a:pt x="2618" y="820"/>
                  </a:lnTo>
                  <a:lnTo>
                    <a:pt x="2620" y="822"/>
                  </a:lnTo>
                  <a:lnTo>
                    <a:pt x="2654" y="814"/>
                  </a:lnTo>
                  <a:lnTo>
                    <a:pt x="2666" y="812"/>
                  </a:lnTo>
                  <a:lnTo>
                    <a:pt x="2668" y="812"/>
                  </a:lnTo>
                  <a:lnTo>
                    <a:pt x="2666" y="808"/>
                  </a:lnTo>
                  <a:lnTo>
                    <a:pt x="2664" y="802"/>
                  </a:lnTo>
                  <a:lnTo>
                    <a:pt x="2664" y="796"/>
                  </a:lnTo>
                  <a:lnTo>
                    <a:pt x="2668" y="782"/>
                  </a:lnTo>
                  <a:lnTo>
                    <a:pt x="2674" y="766"/>
                  </a:lnTo>
                  <a:lnTo>
                    <a:pt x="2678" y="752"/>
                  </a:lnTo>
                  <a:lnTo>
                    <a:pt x="2682" y="746"/>
                  </a:lnTo>
                  <a:lnTo>
                    <a:pt x="2688" y="740"/>
                  </a:lnTo>
                  <a:lnTo>
                    <a:pt x="2704" y="730"/>
                  </a:lnTo>
                  <a:lnTo>
                    <a:pt x="2710" y="726"/>
                  </a:lnTo>
                  <a:lnTo>
                    <a:pt x="2718" y="726"/>
                  </a:lnTo>
                  <a:lnTo>
                    <a:pt x="2742" y="732"/>
                  </a:lnTo>
                  <a:lnTo>
                    <a:pt x="2748" y="736"/>
                  </a:lnTo>
                  <a:lnTo>
                    <a:pt x="2754" y="742"/>
                  </a:lnTo>
                  <a:lnTo>
                    <a:pt x="2756" y="746"/>
                  </a:lnTo>
                  <a:lnTo>
                    <a:pt x="2758" y="750"/>
                  </a:lnTo>
                  <a:lnTo>
                    <a:pt x="2760" y="750"/>
                  </a:lnTo>
                  <a:lnTo>
                    <a:pt x="2762" y="750"/>
                  </a:lnTo>
                  <a:lnTo>
                    <a:pt x="2764" y="748"/>
                  </a:lnTo>
                  <a:lnTo>
                    <a:pt x="2774" y="740"/>
                  </a:lnTo>
                  <a:lnTo>
                    <a:pt x="2786" y="730"/>
                  </a:lnTo>
                  <a:lnTo>
                    <a:pt x="2812" y="710"/>
                  </a:lnTo>
                  <a:lnTo>
                    <a:pt x="2814" y="708"/>
                  </a:lnTo>
                  <a:lnTo>
                    <a:pt x="2816" y="708"/>
                  </a:lnTo>
                  <a:lnTo>
                    <a:pt x="2818" y="710"/>
                  </a:lnTo>
                  <a:lnTo>
                    <a:pt x="2818" y="714"/>
                  </a:lnTo>
                  <a:lnTo>
                    <a:pt x="2818" y="736"/>
                  </a:lnTo>
                  <a:lnTo>
                    <a:pt x="2816" y="744"/>
                  </a:lnTo>
                  <a:lnTo>
                    <a:pt x="2812" y="750"/>
                  </a:lnTo>
                  <a:lnTo>
                    <a:pt x="2794" y="768"/>
                  </a:lnTo>
                  <a:lnTo>
                    <a:pt x="2782" y="778"/>
                  </a:lnTo>
                  <a:lnTo>
                    <a:pt x="2776" y="780"/>
                  </a:lnTo>
                  <a:lnTo>
                    <a:pt x="2770" y="784"/>
                  </a:lnTo>
                  <a:lnTo>
                    <a:pt x="2764" y="790"/>
                  </a:lnTo>
                  <a:lnTo>
                    <a:pt x="2754" y="806"/>
                  </a:lnTo>
                  <a:lnTo>
                    <a:pt x="2744" y="818"/>
                  </a:lnTo>
                  <a:lnTo>
                    <a:pt x="2736" y="826"/>
                  </a:lnTo>
                  <a:lnTo>
                    <a:pt x="2724" y="838"/>
                  </a:lnTo>
                  <a:lnTo>
                    <a:pt x="2716" y="846"/>
                  </a:lnTo>
                  <a:lnTo>
                    <a:pt x="2710" y="850"/>
                  </a:lnTo>
                  <a:lnTo>
                    <a:pt x="2706" y="852"/>
                  </a:lnTo>
                  <a:lnTo>
                    <a:pt x="2702" y="854"/>
                  </a:lnTo>
                  <a:lnTo>
                    <a:pt x="2698" y="860"/>
                  </a:lnTo>
                  <a:lnTo>
                    <a:pt x="2684" y="904"/>
                  </a:lnTo>
                  <a:lnTo>
                    <a:pt x="2682" y="910"/>
                  </a:lnTo>
                  <a:lnTo>
                    <a:pt x="2682" y="918"/>
                  </a:lnTo>
                  <a:lnTo>
                    <a:pt x="2700" y="1020"/>
                  </a:lnTo>
                  <a:lnTo>
                    <a:pt x="2700" y="1022"/>
                  </a:lnTo>
                  <a:lnTo>
                    <a:pt x="2702" y="1024"/>
                  </a:lnTo>
                  <a:lnTo>
                    <a:pt x="2704" y="1024"/>
                  </a:lnTo>
                  <a:lnTo>
                    <a:pt x="2706" y="1022"/>
                  </a:lnTo>
                  <a:lnTo>
                    <a:pt x="2726" y="996"/>
                  </a:lnTo>
                  <a:lnTo>
                    <a:pt x="2734" y="984"/>
                  </a:lnTo>
                  <a:lnTo>
                    <a:pt x="2744" y="972"/>
                  </a:lnTo>
                  <a:lnTo>
                    <a:pt x="2746" y="966"/>
                  </a:lnTo>
                  <a:lnTo>
                    <a:pt x="2754" y="952"/>
                  </a:lnTo>
                  <a:lnTo>
                    <a:pt x="2756" y="948"/>
                  </a:lnTo>
                  <a:lnTo>
                    <a:pt x="2760" y="940"/>
                  </a:lnTo>
                  <a:lnTo>
                    <a:pt x="2766" y="936"/>
                  </a:lnTo>
                  <a:lnTo>
                    <a:pt x="2772" y="934"/>
                  </a:lnTo>
                  <a:lnTo>
                    <a:pt x="2776" y="928"/>
                  </a:lnTo>
                  <a:lnTo>
                    <a:pt x="2778" y="922"/>
                  </a:lnTo>
                  <a:lnTo>
                    <a:pt x="2778" y="918"/>
                  </a:lnTo>
                  <a:lnTo>
                    <a:pt x="2780" y="912"/>
                  </a:lnTo>
                  <a:lnTo>
                    <a:pt x="2784" y="906"/>
                  </a:lnTo>
                  <a:lnTo>
                    <a:pt x="2788" y="900"/>
                  </a:lnTo>
                  <a:lnTo>
                    <a:pt x="2790" y="894"/>
                  </a:lnTo>
                  <a:lnTo>
                    <a:pt x="2796" y="870"/>
                  </a:lnTo>
                  <a:lnTo>
                    <a:pt x="2798" y="856"/>
                  </a:lnTo>
                  <a:lnTo>
                    <a:pt x="2796" y="854"/>
                  </a:lnTo>
                  <a:lnTo>
                    <a:pt x="2790" y="852"/>
                  </a:lnTo>
                  <a:lnTo>
                    <a:pt x="2786" y="852"/>
                  </a:lnTo>
                  <a:lnTo>
                    <a:pt x="2784" y="852"/>
                  </a:lnTo>
                  <a:lnTo>
                    <a:pt x="2782" y="850"/>
                  </a:lnTo>
                  <a:lnTo>
                    <a:pt x="2782" y="848"/>
                  </a:lnTo>
                  <a:lnTo>
                    <a:pt x="2782" y="844"/>
                  </a:lnTo>
                  <a:lnTo>
                    <a:pt x="2796" y="810"/>
                  </a:lnTo>
                  <a:lnTo>
                    <a:pt x="2798" y="804"/>
                  </a:lnTo>
                  <a:lnTo>
                    <a:pt x="2804" y="798"/>
                  </a:lnTo>
                  <a:lnTo>
                    <a:pt x="2816" y="790"/>
                  </a:lnTo>
                  <a:lnTo>
                    <a:pt x="2820" y="786"/>
                  </a:lnTo>
                  <a:lnTo>
                    <a:pt x="2832" y="784"/>
                  </a:lnTo>
                  <a:lnTo>
                    <a:pt x="2838" y="784"/>
                  </a:lnTo>
                  <a:lnTo>
                    <a:pt x="2842" y="788"/>
                  </a:lnTo>
                  <a:lnTo>
                    <a:pt x="2844" y="790"/>
                  </a:lnTo>
                  <a:lnTo>
                    <a:pt x="2848" y="790"/>
                  </a:lnTo>
                  <a:lnTo>
                    <a:pt x="2854" y="788"/>
                  </a:lnTo>
                  <a:lnTo>
                    <a:pt x="2870" y="770"/>
                  </a:lnTo>
                  <a:lnTo>
                    <a:pt x="2874" y="768"/>
                  </a:lnTo>
                  <a:lnTo>
                    <a:pt x="2876" y="768"/>
                  </a:lnTo>
                  <a:lnTo>
                    <a:pt x="2880" y="768"/>
                  </a:lnTo>
                  <a:lnTo>
                    <a:pt x="2882" y="770"/>
                  </a:lnTo>
                  <a:lnTo>
                    <a:pt x="2900" y="788"/>
                  </a:lnTo>
                  <a:lnTo>
                    <a:pt x="2902" y="790"/>
                  </a:lnTo>
                  <a:lnTo>
                    <a:pt x="2906" y="790"/>
                  </a:lnTo>
                  <a:lnTo>
                    <a:pt x="2908" y="788"/>
                  </a:lnTo>
                  <a:lnTo>
                    <a:pt x="2908" y="786"/>
                  </a:lnTo>
                  <a:lnTo>
                    <a:pt x="2914" y="772"/>
                  </a:lnTo>
                  <a:lnTo>
                    <a:pt x="2918" y="766"/>
                  </a:lnTo>
                  <a:lnTo>
                    <a:pt x="2924" y="764"/>
                  </a:lnTo>
                  <a:lnTo>
                    <a:pt x="2928" y="764"/>
                  </a:lnTo>
                  <a:lnTo>
                    <a:pt x="2934" y="762"/>
                  </a:lnTo>
                  <a:lnTo>
                    <a:pt x="2940" y="758"/>
                  </a:lnTo>
                  <a:lnTo>
                    <a:pt x="2960" y="732"/>
                  </a:lnTo>
                  <a:lnTo>
                    <a:pt x="2966" y="726"/>
                  </a:lnTo>
                  <a:lnTo>
                    <a:pt x="2972" y="722"/>
                  </a:lnTo>
                  <a:lnTo>
                    <a:pt x="2996" y="708"/>
                  </a:lnTo>
                  <a:lnTo>
                    <a:pt x="3004" y="706"/>
                  </a:lnTo>
                  <a:lnTo>
                    <a:pt x="3012" y="706"/>
                  </a:lnTo>
                  <a:lnTo>
                    <a:pt x="3016" y="706"/>
                  </a:lnTo>
                  <a:lnTo>
                    <a:pt x="3024" y="706"/>
                  </a:lnTo>
                  <a:lnTo>
                    <a:pt x="3030" y="708"/>
                  </a:lnTo>
                  <a:lnTo>
                    <a:pt x="3036" y="712"/>
                  </a:lnTo>
                  <a:lnTo>
                    <a:pt x="3042" y="712"/>
                  </a:lnTo>
                  <a:lnTo>
                    <a:pt x="3044" y="710"/>
                  </a:lnTo>
                  <a:lnTo>
                    <a:pt x="3044" y="698"/>
                  </a:lnTo>
                  <a:lnTo>
                    <a:pt x="3044" y="694"/>
                  </a:lnTo>
                  <a:lnTo>
                    <a:pt x="3040" y="678"/>
                  </a:lnTo>
                  <a:lnTo>
                    <a:pt x="3036" y="664"/>
                  </a:lnTo>
                  <a:lnTo>
                    <a:pt x="3032" y="656"/>
                  </a:lnTo>
                  <a:lnTo>
                    <a:pt x="3028" y="650"/>
                  </a:lnTo>
                  <a:lnTo>
                    <a:pt x="3020" y="642"/>
                  </a:lnTo>
                  <a:lnTo>
                    <a:pt x="3018" y="640"/>
                  </a:lnTo>
                  <a:lnTo>
                    <a:pt x="3018" y="638"/>
                  </a:lnTo>
                  <a:lnTo>
                    <a:pt x="3018" y="634"/>
                  </a:lnTo>
                  <a:lnTo>
                    <a:pt x="3022" y="634"/>
                  </a:lnTo>
                  <a:lnTo>
                    <a:pt x="3026" y="630"/>
                  </a:lnTo>
                  <a:lnTo>
                    <a:pt x="3040" y="624"/>
                  </a:lnTo>
                  <a:lnTo>
                    <a:pt x="3046" y="620"/>
                  </a:lnTo>
                  <a:close/>
                  <a:moveTo>
                    <a:pt x="420" y="930"/>
                  </a:moveTo>
                  <a:lnTo>
                    <a:pt x="420" y="930"/>
                  </a:lnTo>
                  <a:lnTo>
                    <a:pt x="414" y="924"/>
                  </a:lnTo>
                  <a:lnTo>
                    <a:pt x="410" y="920"/>
                  </a:lnTo>
                  <a:lnTo>
                    <a:pt x="414" y="924"/>
                  </a:lnTo>
                  <a:lnTo>
                    <a:pt x="420" y="930"/>
                  </a:lnTo>
                  <a:close/>
                  <a:moveTo>
                    <a:pt x="938" y="1244"/>
                  </a:moveTo>
                  <a:lnTo>
                    <a:pt x="938" y="1244"/>
                  </a:lnTo>
                  <a:lnTo>
                    <a:pt x="934" y="1238"/>
                  </a:lnTo>
                  <a:lnTo>
                    <a:pt x="928" y="1236"/>
                  </a:lnTo>
                  <a:lnTo>
                    <a:pt x="924" y="1234"/>
                  </a:lnTo>
                  <a:lnTo>
                    <a:pt x="914" y="1234"/>
                  </a:lnTo>
                  <a:lnTo>
                    <a:pt x="902" y="1238"/>
                  </a:lnTo>
                  <a:lnTo>
                    <a:pt x="896" y="1240"/>
                  </a:lnTo>
                  <a:lnTo>
                    <a:pt x="890" y="1242"/>
                  </a:lnTo>
                  <a:lnTo>
                    <a:pt x="882" y="1244"/>
                  </a:lnTo>
                  <a:lnTo>
                    <a:pt x="878" y="1244"/>
                  </a:lnTo>
                  <a:lnTo>
                    <a:pt x="864" y="1244"/>
                  </a:lnTo>
                  <a:lnTo>
                    <a:pt x="852" y="1240"/>
                  </a:lnTo>
                  <a:lnTo>
                    <a:pt x="848" y="1238"/>
                  </a:lnTo>
                  <a:lnTo>
                    <a:pt x="836" y="1234"/>
                  </a:lnTo>
                  <a:lnTo>
                    <a:pt x="822" y="1234"/>
                  </a:lnTo>
                  <a:lnTo>
                    <a:pt x="800" y="1234"/>
                  </a:lnTo>
                  <a:lnTo>
                    <a:pt x="786" y="1234"/>
                  </a:lnTo>
                  <a:lnTo>
                    <a:pt x="774" y="1234"/>
                  </a:lnTo>
                  <a:lnTo>
                    <a:pt x="770" y="1234"/>
                  </a:lnTo>
                  <a:lnTo>
                    <a:pt x="764" y="1236"/>
                  </a:lnTo>
                  <a:lnTo>
                    <a:pt x="758" y="1238"/>
                  </a:lnTo>
                  <a:lnTo>
                    <a:pt x="746" y="1248"/>
                  </a:lnTo>
                  <a:lnTo>
                    <a:pt x="740" y="1250"/>
                  </a:lnTo>
                  <a:lnTo>
                    <a:pt x="734" y="1250"/>
                  </a:lnTo>
                  <a:lnTo>
                    <a:pt x="728" y="1248"/>
                  </a:lnTo>
                  <a:lnTo>
                    <a:pt x="722" y="1244"/>
                  </a:lnTo>
                  <a:lnTo>
                    <a:pt x="716" y="1240"/>
                  </a:lnTo>
                  <a:lnTo>
                    <a:pt x="702" y="1236"/>
                  </a:lnTo>
                  <a:lnTo>
                    <a:pt x="696" y="1232"/>
                  </a:lnTo>
                  <a:lnTo>
                    <a:pt x="694" y="1226"/>
                  </a:lnTo>
                  <a:lnTo>
                    <a:pt x="694" y="1222"/>
                  </a:lnTo>
                  <a:lnTo>
                    <a:pt x="696" y="1214"/>
                  </a:lnTo>
                  <a:lnTo>
                    <a:pt x="700" y="1208"/>
                  </a:lnTo>
                  <a:lnTo>
                    <a:pt x="708" y="1200"/>
                  </a:lnTo>
                  <a:lnTo>
                    <a:pt x="714" y="1194"/>
                  </a:lnTo>
                  <a:lnTo>
                    <a:pt x="714" y="1186"/>
                  </a:lnTo>
                  <a:lnTo>
                    <a:pt x="714" y="1172"/>
                  </a:lnTo>
                  <a:lnTo>
                    <a:pt x="714" y="1166"/>
                  </a:lnTo>
                  <a:lnTo>
                    <a:pt x="718" y="1160"/>
                  </a:lnTo>
                  <a:lnTo>
                    <a:pt x="724" y="1156"/>
                  </a:lnTo>
                  <a:lnTo>
                    <a:pt x="728" y="1150"/>
                  </a:lnTo>
                  <a:lnTo>
                    <a:pt x="740" y="1142"/>
                  </a:lnTo>
                  <a:lnTo>
                    <a:pt x="746" y="1140"/>
                  </a:lnTo>
                  <a:lnTo>
                    <a:pt x="754" y="1136"/>
                  </a:lnTo>
                  <a:lnTo>
                    <a:pt x="760" y="1136"/>
                  </a:lnTo>
                  <a:lnTo>
                    <a:pt x="764" y="1136"/>
                  </a:lnTo>
                  <a:lnTo>
                    <a:pt x="772" y="1138"/>
                  </a:lnTo>
                  <a:lnTo>
                    <a:pt x="778" y="1140"/>
                  </a:lnTo>
                  <a:lnTo>
                    <a:pt x="780" y="1146"/>
                  </a:lnTo>
                  <a:lnTo>
                    <a:pt x="778" y="1150"/>
                  </a:lnTo>
                  <a:lnTo>
                    <a:pt x="776" y="1152"/>
                  </a:lnTo>
                  <a:lnTo>
                    <a:pt x="776" y="1156"/>
                  </a:lnTo>
                  <a:lnTo>
                    <a:pt x="778" y="1160"/>
                  </a:lnTo>
                  <a:lnTo>
                    <a:pt x="786" y="1170"/>
                  </a:lnTo>
                  <a:lnTo>
                    <a:pt x="792" y="1172"/>
                  </a:lnTo>
                  <a:lnTo>
                    <a:pt x="800" y="1172"/>
                  </a:lnTo>
                  <a:lnTo>
                    <a:pt x="824" y="1158"/>
                  </a:lnTo>
                  <a:lnTo>
                    <a:pt x="832" y="1156"/>
                  </a:lnTo>
                  <a:lnTo>
                    <a:pt x="838" y="1158"/>
                  </a:lnTo>
                  <a:lnTo>
                    <a:pt x="862" y="1164"/>
                  </a:lnTo>
                  <a:lnTo>
                    <a:pt x="870" y="1166"/>
                  </a:lnTo>
                  <a:lnTo>
                    <a:pt x="874" y="1172"/>
                  </a:lnTo>
                  <a:lnTo>
                    <a:pt x="886" y="1188"/>
                  </a:lnTo>
                  <a:lnTo>
                    <a:pt x="888" y="1194"/>
                  </a:lnTo>
                  <a:lnTo>
                    <a:pt x="890" y="1200"/>
                  </a:lnTo>
                  <a:lnTo>
                    <a:pt x="892" y="1204"/>
                  </a:lnTo>
                  <a:lnTo>
                    <a:pt x="894" y="1210"/>
                  </a:lnTo>
                  <a:lnTo>
                    <a:pt x="900" y="1212"/>
                  </a:lnTo>
                  <a:lnTo>
                    <a:pt x="908" y="1214"/>
                  </a:lnTo>
                  <a:lnTo>
                    <a:pt x="912" y="1214"/>
                  </a:lnTo>
                  <a:lnTo>
                    <a:pt x="918" y="1216"/>
                  </a:lnTo>
                  <a:lnTo>
                    <a:pt x="924" y="1218"/>
                  </a:lnTo>
                  <a:lnTo>
                    <a:pt x="932" y="1232"/>
                  </a:lnTo>
                  <a:lnTo>
                    <a:pt x="936" y="1236"/>
                  </a:lnTo>
                  <a:lnTo>
                    <a:pt x="938" y="1244"/>
                  </a:lnTo>
                  <a:close/>
                  <a:moveTo>
                    <a:pt x="1094" y="1156"/>
                  </a:moveTo>
                  <a:lnTo>
                    <a:pt x="1094" y="1156"/>
                  </a:lnTo>
                  <a:lnTo>
                    <a:pt x="1078" y="1156"/>
                  </a:lnTo>
                  <a:lnTo>
                    <a:pt x="1074" y="1156"/>
                  </a:lnTo>
                  <a:lnTo>
                    <a:pt x="1068" y="1156"/>
                  </a:lnTo>
                  <a:lnTo>
                    <a:pt x="1062" y="1160"/>
                  </a:lnTo>
                  <a:lnTo>
                    <a:pt x="1058" y="1166"/>
                  </a:lnTo>
                  <a:lnTo>
                    <a:pt x="1058" y="1172"/>
                  </a:lnTo>
                  <a:lnTo>
                    <a:pt x="1064" y="1196"/>
                  </a:lnTo>
                  <a:lnTo>
                    <a:pt x="1068" y="1204"/>
                  </a:lnTo>
                  <a:lnTo>
                    <a:pt x="1072" y="1210"/>
                  </a:lnTo>
                  <a:lnTo>
                    <a:pt x="1080" y="1218"/>
                  </a:lnTo>
                  <a:lnTo>
                    <a:pt x="1084" y="1224"/>
                  </a:lnTo>
                  <a:lnTo>
                    <a:pt x="1086" y="1232"/>
                  </a:lnTo>
                  <a:lnTo>
                    <a:pt x="1086" y="1256"/>
                  </a:lnTo>
                  <a:lnTo>
                    <a:pt x="1086" y="1264"/>
                  </a:lnTo>
                  <a:lnTo>
                    <a:pt x="1080" y="1266"/>
                  </a:lnTo>
                  <a:lnTo>
                    <a:pt x="1020" y="1278"/>
                  </a:lnTo>
                  <a:lnTo>
                    <a:pt x="1014" y="1278"/>
                  </a:lnTo>
                  <a:lnTo>
                    <a:pt x="1010" y="1276"/>
                  </a:lnTo>
                  <a:lnTo>
                    <a:pt x="1006" y="1274"/>
                  </a:lnTo>
                  <a:lnTo>
                    <a:pt x="1002" y="1278"/>
                  </a:lnTo>
                  <a:lnTo>
                    <a:pt x="998" y="1280"/>
                  </a:lnTo>
                  <a:lnTo>
                    <a:pt x="990" y="1282"/>
                  </a:lnTo>
                  <a:lnTo>
                    <a:pt x="982" y="1284"/>
                  </a:lnTo>
                  <a:lnTo>
                    <a:pt x="976" y="1284"/>
                  </a:lnTo>
                  <a:lnTo>
                    <a:pt x="972" y="1284"/>
                  </a:lnTo>
                  <a:lnTo>
                    <a:pt x="962" y="1278"/>
                  </a:lnTo>
                  <a:lnTo>
                    <a:pt x="958" y="1272"/>
                  </a:lnTo>
                  <a:lnTo>
                    <a:pt x="954" y="1268"/>
                  </a:lnTo>
                  <a:lnTo>
                    <a:pt x="954" y="1266"/>
                  </a:lnTo>
                  <a:lnTo>
                    <a:pt x="954" y="1264"/>
                  </a:lnTo>
                  <a:lnTo>
                    <a:pt x="960" y="1264"/>
                  </a:lnTo>
                  <a:lnTo>
                    <a:pt x="968" y="1262"/>
                  </a:lnTo>
                  <a:lnTo>
                    <a:pt x="976" y="1260"/>
                  </a:lnTo>
                  <a:lnTo>
                    <a:pt x="980" y="1256"/>
                  </a:lnTo>
                  <a:lnTo>
                    <a:pt x="986" y="1256"/>
                  </a:lnTo>
                  <a:lnTo>
                    <a:pt x="992" y="1258"/>
                  </a:lnTo>
                  <a:lnTo>
                    <a:pt x="996" y="1264"/>
                  </a:lnTo>
                  <a:lnTo>
                    <a:pt x="998" y="1268"/>
                  </a:lnTo>
                  <a:lnTo>
                    <a:pt x="998" y="1270"/>
                  </a:lnTo>
                  <a:lnTo>
                    <a:pt x="1002" y="1266"/>
                  </a:lnTo>
                  <a:lnTo>
                    <a:pt x="1004" y="1260"/>
                  </a:lnTo>
                  <a:lnTo>
                    <a:pt x="1012" y="1248"/>
                  </a:lnTo>
                  <a:lnTo>
                    <a:pt x="1022" y="1240"/>
                  </a:lnTo>
                  <a:lnTo>
                    <a:pt x="1024" y="1234"/>
                  </a:lnTo>
                  <a:lnTo>
                    <a:pt x="1024" y="1226"/>
                  </a:lnTo>
                  <a:lnTo>
                    <a:pt x="1010" y="1202"/>
                  </a:lnTo>
                  <a:lnTo>
                    <a:pt x="1002" y="1188"/>
                  </a:lnTo>
                  <a:lnTo>
                    <a:pt x="974" y="1152"/>
                  </a:lnTo>
                  <a:lnTo>
                    <a:pt x="970" y="1146"/>
                  </a:lnTo>
                  <a:lnTo>
                    <a:pt x="972" y="1138"/>
                  </a:lnTo>
                  <a:lnTo>
                    <a:pt x="984" y="1122"/>
                  </a:lnTo>
                  <a:lnTo>
                    <a:pt x="988" y="1118"/>
                  </a:lnTo>
                  <a:lnTo>
                    <a:pt x="994" y="1112"/>
                  </a:lnTo>
                  <a:lnTo>
                    <a:pt x="1000" y="1110"/>
                  </a:lnTo>
                  <a:lnTo>
                    <a:pt x="1006" y="1108"/>
                  </a:lnTo>
                  <a:lnTo>
                    <a:pt x="1012" y="1112"/>
                  </a:lnTo>
                  <a:lnTo>
                    <a:pt x="1018" y="1114"/>
                  </a:lnTo>
                  <a:lnTo>
                    <a:pt x="1026" y="1116"/>
                  </a:lnTo>
                  <a:lnTo>
                    <a:pt x="1048" y="1116"/>
                  </a:lnTo>
                  <a:lnTo>
                    <a:pt x="1064" y="1116"/>
                  </a:lnTo>
                  <a:lnTo>
                    <a:pt x="1078" y="1116"/>
                  </a:lnTo>
                  <a:lnTo>
                    <a:pt x="1084" y="1118"/>
                  </a:lnTo>
                  <a:lnTo>
                    <a:pt x="1090" y="1122"/>
                  </a:lnTo>
                  <a:lnTo>
                    <a:pt x="1110" y="1148"/>
                  </a:lnTo>
                  <a:lnTo>
                    <a:pt x="1112" y="1152"/>
                  </a:lnTo>
                  <a:lnTo>
                    <a:pt x="1112" y="1154"/>
                  </a:lnTo>
                  <a:lnTo>
                    <a:pt x="1110" y="1154"/>
                  </a:lnTo>
                  <a:lnTo>
                    <a:pt x="1108" y="1156"/>
                  </a:lnTo>
                  <a:lnTo>
                    <a:pt x="1094" y="1156"/>
                  </a:lnTo>
                  <a:close/>
                  <a:moveTo>
                    <a:pt x="1098" y="350"/>
                  </a:moveTo>
                  <a:lnTo>
                    <a:pt x="1098" y="350"/>
                  </a:lnTo>
                  <a:lnTo>
                    <a:pt x="1102" y="354"/>
                  </a:lnTo>
                  <a:lnTo>
                    <a:pt x="1106" y="358"/>
                  </a:lnTo>
                  <a:lnTo>
                    <a:pt x="1108" y="362"/>
                  </a:lnTo>
                  <a:lnTo>
                    <a:pt x="1112" y="366"/>
                  </a:lnTo>
                  <a:lnTo>
                    <a:pt x="1118" y="368"/>
                  </a:lnTo>
                  <a:lnTo>
                    <a:pt x="1124" y="372"/>
                  </a:lnTo>
                  <a:lnTo>
                    <a:pt x="1132" y="372"/>
                  </a:lnTo>
                  <a:lnTo>
                    <a:pt x="1156" y="372"/>
                  </a:lnTo>
                  <a:lnTo>
                    <a:pt x="1158" y="372"/>
                  </a:lnTo>
                  <a:lnTo>
                    <a:pt x="1160" y="370"/>
                  </a:lnTo>
                  <a:lnTo>
                    <a:pt x="1160" y="368"/>
                  </a:lnTo>
                  <a:lnTo>
                    <a:pt x="1158" y="366"/>
                  </a:lnTo>
                  <a:lnTo>
                    <a:pt x="1150" y="358"/>
                  </a:lnTo>
                  <a:lnTo>
                    <a:pt x="1146" y="352"/>
                  </a:lnTo>
                  <a:lnTo>
                    <a:pt x="1142" y="346"/>
                  </a:lnTo>
                  <a:lnTo>
                    <a:pt x="1128" y="302"/>
                  </a:lnTo>
                  <a:lnTo>
                    <a:pt x="1126" y="294"/>
                  </a:lnTo>
                  <a:lnTo>
                    <a:pt x="1128" y="286"/>
                  </a:lnTo>
                  <a:lnTo>
                    <a:pt x="1140" y="262"/>
                  </a:lnTo>
                  <a:lnTo>
                    <a:pt x="1148" y="248"/>
                  </a:lnTo>
                  <a:lnTo>
                    <a:pt x="1180" y="184"/>
                  </a:lnTo>
                  <a:lnTo>
                    <a:pt x="1184" y="178"/>
                  </a:lnTo>
                  <a:lnTo>
                    <a:pt x="1190" y="172"/>
                  </a:lnTo>
                  <a:lnTo>
                    <a:pt x="1216" y="152"/>
                  </a:lnTo>
                  <a:lnTo>
                    <a:pt x="1226" y="140"/>
                  </a:lnTo>
                  <a:lnTo>
                    <a:pt x="1238" y="124"/>
                  </a:lnTo>
                  <a:lnTo>
                    <a:pt x="1244" y="120"/>
                  </a:lnTo>
                  <a:lnTo>
                    <a:pt x="1250" y="116"/>
                  </a:lnTo>
                  <a:lnTo>
                    <a:pt x="1264" y="110"/>
                  </a:lnTo>
                  <a:lnTo>
                    <a:pt x="1278" y="104"/>
                  </a:lnTo>
                  <a:lnTo>
                    <a:pt x="1294" y="94"/>
                  </a:lnTo>
                  <a:lnTo>
                    <a:pt x="1306" y="84"/>
                  </a:lnTo>
                  <a:lnTo>
                    <a:pt x="1334" y="56"/>
                  </a:lnTo>
                  <a:lnTo>
                    <a:pt x="1338" y="50"/>
                  </a:lnTo>
                  <a:lnTo>
                    <a:pt x="1336" y="42"/>
                  </a:lnTo>
                  <a:lnTo>
                    <a:pt x="1334" y="38"/>
                  </a:lnTo>
                  <a:lnTo>
                    <a:pt x="1328" y="32"/>
                  </a:lnTo>
                  <a:lnTo>
                    <a:pt x="1322" y="30"/>
                  </a:lnTo>
                  <a:lnTo>
                    <a:pt x="1308" y="30"/>
                  </a:lnTo>
                  <a:lnTo>
                    <a:pt x="1302" y="32"/>
                  </a:lnTo>
                  <a:lnTo>
                    <a:pt x="1296" y="36"/>
                  </a:lnTo>
                  <a:lnTo>
                    <a:pt x="1286" y="44"/>
                  </a:lnTo>
                  <a:lnTo>
                    <a:pt x="1276" y="54"/>
                  </a:lnTo>
                  <a:lnTo>
                    <a:pt x="1270" y="58"/>
                  </a:lnTo>
                  <a:lnTo>
                    <a:pt x="1264" y="62"/>
                  </a:lnTo>
                  <a:lnTo>
                    <a:pt x="1250" y="66"/>
                  </a:lnTo>
                  <a:lnTo>
                    <a:pt x="1234" y="70"/>
                  </a:lnTo>
                  <a:lnTo>
                    <a:pt x="1220" y="70"/>
                  </a:lnTo>
                  <a:lnTo>
                    <a:pt x="1214" y="70"/>
                  </a:lnTo>
                  <a:lnTo>
                    <a:pt x="1208" y="74"/>
                  </a:lnTo>
                  <a:lnTo>
                    <a:pt x="1198" y="84"/>
                  </a:lnTo>
                  <a:lnTo>
                    <a:pt x="1188" y="94"/>
                  </a:lnTo>
                  <a:lnTo>
                    <a:pt x="1160" y="122"/>
                  </a:lnTo>
                  <a:lnTo>
                    <a:pt x="1146" y="132"/>
                  </a:lnTo>
                  <a:lnTo>
                    <a:pt x="1142" y="134"/>
                  </a:lnTo>
                  <a:lnTo>
                    <a:pt x="1136" y="140"/>
                  </a:lnTo>
                  <a:lnTo>
                    <a:pt x="1134" y="146"/>
                  </a:lnTo>
                  <a:lnTo>
                    <a:pt x="1134" y="160"/>
                  </a:lnTo>
                  <a:lnTo>
                    <a:pt x="1132" y="166"/>
                  </a:lnTo>
                  <a:lnTo>
                    <a:pt x="1128" y="170"/>
                  </a:lnTo>
                  <a:lnTo>
                    <a:pt x="1122" y="174"/>
                  </a:lnTo>
                  <a:lnTo>
                    <a:pt x="1116" y="178"/>
                  </a:lnTo>
                  <a:lnTo>
                    <a:pt x="1110" y="184"/>
                  </a:lnTo>
                  <a:lnTo>
                    <a:pt x="1100" y="200"/>
                  </a:lnTo>
                  <a:lnTo>
                    <a:pt x="1096" y="206"/>
                  </a:lnTo>
                  <a:lnTo>
                    <a:pt x="1096" y="214"/>
                  </a:lnTo>
                  <a:lnTo>
                    <a:pt x="1096" y="218"/>
                  </a:lnTo>
                  <a:lnTo>
                    <a:pt x="1094" y="226"/>
                  </a:lnTo>
                  <a:lnTo>
                    <a:pt x="1092" y="232"/>
                  </a:lnTo>
                  <a:lnTo>
                    <a:pt x="1090" y="238"/>
                  </a:lnTo>
                  <a:lnTo>
                    <a:pt x="1082" y="252"/>
                  </a:lnTo>
                  <a:lnTo>
                    <a:pt x="1080" y="258"/>
                  </a:lnTo>
                  <a:lnTo>
                    <a:pt x="1076" y="266"/>
                  </a:lnTo>
                  <a:lnTo>
                    <a:pt x="1076" y="272"/>
                  </a:lnTo>
                  <a:lnTo>
                    <a:pt x="1076" y="286"/>
                  </a:lnTo>
                  <a:lnTo>
                    <a:pt x="1074" y="294"/>
                  </a:lnTo>
                  <a:lnTo>
                    <a:pt x="1072" y="302"/>
                  </a:lnTo>
                  <a:lnTo>
                    <a:pt x="1070" y="306"/>
                  </a:lnTo>
                  <a:lnTo>
                    <a:pt x="1068" y="314"/>
                  </a:lnTo>
                  <a:lnTo>
                    <a:pt x="1068" y="322"/>
                  </a:lnTo>
                  <a:lnTo>
                    <a:pt x="1074" y="336"/>
                  </a:lnTo>
                  <a:lnTo>
                    <a:pt x="1078" y="342"/>
                  </a:lnTo>
                  <a:lnTo>
                    <a:pt x="1084" y="346"/>
                  </a:lnTo>
                  <a:lnTo>
                    <a:pt x="1098" y="350"/>
                  </a:lnTo>
                  <a:close/>
                  <a:moveTo>
                    <a:pt x="148" y="1002"/>
                  </a:moveTo>
                  <a:lnTo>
                    <a:pt x="148" y="1002"/>
                  </a:lnTo>
                  <a:lnTo>
                    <a:pt x="162" y="994"/>
                  </a:lnTo>
                  <a:lnTo>
                    <a:pt x="168" y="992"/>
                  </a:lnTo>
                  <a:lnTo>
                    <a:pt x="172" y="988"/>
                  </a:lnTo>
                  <a:lnTo>
                    <a:pt x="174" y="980"/>
                  </a:lnTo>
                  <a:lnTo>
                    <a:pt x="174" y="978"/>
                  </a:lnTo>
                  <a:lnTo>
                    <a:pt x="174" y="962"/>
                  </a:lnTo>
                  <a:lnTo>
                    <a:pt x="174" y="958"/>
                  </a:lnTo>
                  <a:lnTo>
                    <a:pt x="176" y="950"/>
                  </a:lnTo>
                  <a:lnTo>
                    <a:pt x="180" y="944"/>
                  </a:lnTo>
                  <a:lnTo>
                    <a:pt x="182" y="940"/>
                  </a:lnTo>
                  <a:lnTo>
                    <a:pt x="180" y="936"/>
                  </a:lnTo>
                  <a:lnTo>
                    <a:pt x="176" y="930"/>
                  </a:lnTo>
                  <a:lnTo>
                    <a:pt x="174" y="926"/>
                  </a:lnTo>
                  <a:lnTo>
                    <a:pt x="172" y="922"/>
                  </a:lnTo>
                  <a:lnTo>
                    <a:pt x="170" y="920"/>
                  </a:lnTo>
                  <a:lnTo>
                    <a:pt x="164" y="920"/>
                  </a:lnTo>
                  <a:lnTo>
                    <a:pt x="160" y="916"/>
                  </a:lnTo>
                  <a:lnTo>
                    <a:pt x="158" y="914"/>
                  </a:lnTo>
                  <a:lnTo>
                    <a:pt x="154" y="914"/>
                  </a:lnTo>
                  <a:lnTo>
                    <a:pt x="148" y="916"/>
                  </a:lnTo>
                  <a:lnTo>
                    <a:pt x="140" y="924"/>
                  </a:lnTo>
                  <a:lnTo>
                    <a:pt x="136" y="930"/>
                  </a:lnTo>
                  <a:lnTo>
                    <a:pt x="134" y="936"/>
                  </a:lnTo>
                  <a:lnTo>
                    <a:pt x="132" y="938"/>
                  </a:lnTo>
                  <a:lnTo>
                    <a:pt x="126" y="940"/>
                  </a:lnTo>
                  <a:lnTo>
                    <a:pt x="124" y="940"/>
                  </a:lnTo>
                  <a:lnTo>
                    <a:pt x="120" y="940"/>
                  </a:lnTo>
                  <a:lnTo>
                    <a:pt x="118" y="942"/>
                  </a:lnTo>
                  <a:lnTo>
                    <a:pt x="118" y="944"/>
                  </a:lnTo>
                  <a:lnTo>
                    <a:pt x="118" y="948"/>
                  </a:lnTo>
                  <a:lnTo>
                    <a:pt x="122" y="952"/>
                  </a:lnTo>
                  <a:lnTo>
                    <a:pt x="122" y="958"/>
                  </a:lnTo>
                  <a:lnTo>
                    <a:pt x="120" y="960"/>
                  </a:lnTo>
                  <a:lnTo>
                    <a:pt x="118" y="960"/>
                  </a:lnTo>
                  <a:lnTo>
                    <a:pt x="120" y="964"/>
                  </a:lnTo>
                  <a:lnTo>
                    <a:pt x="124" y="970"/>
                  </a:lnTo>
                  <a:lnTo>
                    <a:pt x="124" y="974"/>
                  </a:lnTo>
                  <a:lnTo>
                    <a:pt x="124" y="978"/>
                  </a:lnTo>
                  <a:lnTo>
                    <a:pt x="120" y="984"/>
                  </a:lnTo>
                  <a:lnTo>
                    <a:pt x="116" y="988"/>
                  </a:lnTo>
                  <a:lnTo>
                    <a:pt x="116" y="994"/>
                  </a:lnTo>
                  <a:lnTo>
                    <a:pt x="116" y="1004"/>
                  </a:lnTo>
                  <a:lnTo>
                    <a:pt x="116" y="1008"/>
                  </a:lnTo>
                  <a:lnTo>
                    <a:pt x="120" y="1012"/>
                  </a:lnTo>
                  <a:lnTo>
                    <a:pt x="126" y="1016"/>
                  </a:lnTo>
                  <a:lnTo>
                    <a:pt x="132" y="1014"/>
                  </a:lnTo>
                  <a:lnTo>
                    <a:pt x="148" y="1002"/>
                  </a:lnTo>
                  <a:close/>
                  <a:moveTo>
                    <a:pt x="1506" y="1812"/>
                  </a:moveTo>
                  <a:lnTo>
                    <a:pt x="1506" y="1812"/>
                  </a:lnTo>
                  <a:lnTo>
                    <a:pt x="1506" y="1828"/>
                  </a:lnTo>
                  <a:lnTo>
                    <a:pt x="1506" y="1832"/>
                  </a:lnTo>
                  <a:lnTo>
                    <a:pt x="1508" y="1836"/>
                  </a:lnTo>
                  <a:lnTo>
                    <a:pt x="1510" y="1838"/>
                  </a:lnTo>
                  <a:lnTo>
                    <a:pt x="1512" y="1840"/>
                  </a:lnTo>
                  <a:lnTo>
                    <a:pt x="1514" y="1840"/>
                  </a:lnTo>
                  <a:lnTo>
                    <a:pt x="1518" y="1840"/>
                  </a:lnTo>
                  <a:lnTo>
                    <a:pt x="1524" y="1838"/>
                  </a:lnTo>
                  <a:lnTo>
                    <a:pt x="1530" y="1834"/>
                  </a:lnTo>
                  <a:lnTo>
                    <a:pt x="1532" y="1828"/>
                  </a:lnTo>
                  <a:lnTo>
                    <a:pt x="1532" y="1822"/>
                  </a:lnTo>
                  <a:lnTo>
                    <a:pt x="1530" y="1816"/>
                  </a:lnTo>
                  <a:lnTo>
                    <a:pt x="1514" y="1806"/>
                  </a:lnTo>
                  <a:lnTo>
                    <a:pt x="1510" y="1804"/>
                  </a:lnTo>
                  <a:lnTo>
                    <a:pt x="1508" y="1804"/>
                  </a:lnTo>
                  <a:lnTo>
                    <a:pt x="1508" y="1806"/>
                  </a:lnTo>
                  <a:lnTo>
                    <a:pt x="1506" y="1808"/>
                  </a:lnTo>
                  <a:lnTo>
                    <a:pt x="1506" y="1812"/>
                  </a:lnTo>
                  <a:close/>
                  <a:moveTo>
                    <a:pt x="1910" y="1994"/>
                  </a:moveTo>
                  <a:lnTo>
                    <a:pt x="1910" y="1994"/>
                  </a:lnTo>
                  <a:lnTo>
                    <a:pt x="1904" y="1980"/>
                  </a:lnTo>
                  <a:lnTo>
                    <a:pt x="1892" y="1964"/>
                  </a:lnTo>
                  <a:lnTo>
                    <a:pt x="1884" y="1952"/>
                  </a:lnTo>
                  <a:lnTo>
                    <a:pt x="1872" y="1942"/>
                  </a:lnTo>
                  <a:lnTo>
                    <a:pt x="1846" y="1914"/>
                  </a:lnTo>
                  <a:lnTo>
                    <a:pt x="1832" y="1904"/>
                  </a:lnTo>
                  <a:lnTo>
                    <a:pt x="1826" y="1902"/>
                  </a:lnTo>
                  <a:lnTo>
                    <a:pt x="1812" y="1896"/>
                  </a:lnTo>
                  <a:lnTo>
                    <a:pt x="1808" y="1892"/>
                  </a:lnTo>
                  <a:lnTo>
                    <a:pt x="1800" y="1888"/>
                  </a:lnTo>
                  <a:lnTo>
                    <a:pt x="1796" y="1882"/>
                  </a:lnTo>
                  <a:lnTo>
                    <a:pt x="1784" y="1866"/>
                  </a:lnTo>
                  <a:lnTo>
                    <a:pt x="1780" y="1862"/>
                  </a:lnTo>
                  <a:lnTo>
                    <a:pt x="1772" y="1860"/>
                  </a:lnTo>
                  <a:lnTo>
                    <a:pt x="1768" y="1860"/>
                  </a:lnTo>
                  <a:lnTo>
                    <a:pt x="1766" y="1860"/>
                  </a:lnTo>
                  <a:lnTo>
                    <a:pt x="1764" y="1862"/>
                  </a:lnTo>
                  <a:lnTo>
                    <a:pt x="1762" y="1864"/>
                  </a:lnTo>
                  <a:lnTo>
                    <a:pt x="1762" y="1868"/>
                  </a:lnTo>
                  <a:lnTo>
                    <a:pt x="1768" y="1890"/>
                  </a:lnTo>
                  <a:lnTo>
                    <a:pt x="1772" y="1898"/>
                  </a:lnTo>
                  <a:lnTo>
                    <a:pt x="1776" y="1904"/>
                  </a:lnTo>
                  <a:lnTo>
                    <a:pt x="1784" y="1912"/>
                  </a:lnTo>
                  <a:lnTo>
                    <a:pt x="1796" y="1924"/>
                  </a:lnTo>
                  <a:lnTo>
                    <a:pt x="1804" y="1932"/>
                  </a:lnTo>
                  <a:lnTo>
                    <a:pt x="1814" y="1942"/>
                  </a:lnTo>
                  <a:lnTo>
                    <a:pt x="1824" y="1956"/>
                  </a:lnTo>
                  <a:lnTo>
                    <a:pt x="1836" y="1980"/>
                  </a:lnTo>
                  <a:lnTo>
                    <a:pt x="1840" y="1986"/>
                  </a:lnTo>
                  <a:lnTo>
                    <a:pt x="1846" y="1992"/>
                  </a:lnTo>
                  <a:lnTo>
                    <a:pt x="1862" y="2002"/>
                  </a:lnTo>
                  <a:lnTo>
                    <a:pt x="1876" y="2012"/>
                  </a:lnTo>
                  <a:lnTo>
                    <a:pt x="1892" y="2022"/>
                  </a:lnTo>
                  <a:lnTo>
                    <a:pt x="1898" y="2024"/>
                  </a:lnTo>
                  <a:lnTo>
                    <a:pt x="1906" y="2022"/>
                  </a:lnTo>
                  <a:lnTo>
                    <a:pt x="1910" y="2020"/>
                  </a:lnTo>
                  <a:lnTo>
                    <a:pt x="1916" y="2016"/>
                  </a:lnTo>
                  <a:lnTo>
                    <a:pt x="1916" y="2008"/>
                  </a:lnTo>
                  <a:lnTo>
                    <a:pt x="1910" y="1994"/>
                  </a:lnTo>
                  <a:close/>
                  <a:moveTo>
                    <a:pt x="1004" y="2148"/>
                  </a:moveTo>
                  <a:lnTo>
                    <a:pt x="1004" y="2148"/>
                  </a:lnTo>
                  <a:lnTo>
                    <a:pt x="998" y="2154"/>
                  </a:lnTo>
                  <a:lnTo>
                    <a:pt x="994" y="2160"/>
                  </a:lnTo>
                  <a:lnTo>
                    <a:pt x="982" y="2176"/>
                  </a:lnTo>
                  <a:lnTo>
                    <a:pt x="978" y="2182"/>
                  </a:lnTo>
                  <a:lnTo>
                    <a:pt x="970" y="2186"/>
                  </a:lnTo>
                  <a:lnTo>
                    <a:pt x="966" y="2188"/>
                  </a:lnTo>
                  <a:lnTo>
                    <a:pt x="954" y="2198"/>
                  </a:lnTo>
                  <a:lnTo>
                    <a:pt x="950" y="2202"/>
                  </a:lnTo>
                  <a:lnTo>
                    <a:pt x="950" y="2210"/>
                  </a:lnTo>
                  <a:lnTo>
                    <a:pt x="956" y="2234"/>
                  </a:lnTo>
                  <a:lnTo>
                    <a:pt x="958" y="2242"/>
                  </a:lnTo>
                  <a:lnTo>
                    <a:pt x="956" y="2248"/>
                  </a:lnTo>
                  <a:lnTo>
                    <a:pt x="952" y="2264"/>
                  </a:lnTo>
                  <a:lnTo>
                    <a:pt x="946" y="2278"/>
                  </a:lnTo>
                  <a:lnTo>
                    <a:pt x="942" y="2284"/>
                  </a:lnTo>
                  <a:lnTo>
                    <a:pt x="940" y="2290"/>
                  </a:lnTo>
                  <a:lnTo>
                    <a:pt x="938" y="2298"/>
                  </a:lnTo>
                  <a:lnTo>
                    <a:pt x="938" y="2302"/>
                  </a:lnTo>
                  <a:lnTo>
                    <a:pt x="938" y="2318"/>
                  </a:lnTo>
                  <a:lnTo>
                    <a:pt x="938" y="2322"/>
                  </a:lnTo>
                  <a:lnTo>
                    <a:pt x="940" y="2328"/>
                  </a:lnTo>
                  <a:lnTo>
                    <a:pt x="944" y="2336"/>
                  </a:lnTo>
                  <a:lnTo>
                    <a:pt x="952" y="2344"/>
                  </a:lnTo>
                  <a:lnTo>
                    <a:pt x="958" y="2346"/>
                  </a:lnTo>
                  <a:lnTo>
                    <a:pt x="966" y="2346"/>
                  </a:lnTo>
                  <a:lnTo>
                    <a:pt x="970" y="2342"/>
                  </a:lnTo>
                  <a:lnTo>
                    <a:pt x="978" y="2340"/>
                  </a:lnTo>
                  <a:lnTo>
                    <a:pt x="986" y="2340"/>
                  </a:lnTo>
                  <a:lnTo>
                    <a:pt x="990" y="2340"/>
                  </a:lnTo>
                  <a:lnTo>
                    <a:pt x="996" y="2338"/>
                  </a:lnTo>
                  <a:lnTo>
                    <a:pt x="1000" y="2332"/>
                  </a:lnTo>
                  <a:lnTo>
                    <a:pt x="1034" y="2210"/>
                  </a:lnTo>
                  <a:lnTo>
                    <a:pt x="1036" y="2194"/>
                  </a:lnTo>
                  <a:lnTo>
                    <a:pt x="1036" y="2190"/>
                  </a:lnTo>
                  <a:lnTo>
                    <a:pt x="1036" y="2174"/>
                  </a:lnTo>
                  <a:lnTo>
                    <a:pt x="1036" y="2160"/>
                  </a:lnTo>
                  <a:lnTo>
                    <a:pt x="1036" y="2154"/>
                  </a:lnTo>
                  <a:lnTo>
                    <a:pt x="1034" y="2146"/>
                  </a:lnTo>
                  <a:lnTo>
                    <a:pt x="1030" y="2140"/>
                  </a:lnTo>
                  <a:lnTo>
                    <a:pt x="1028" y="2138"/>
                  </a:lnTo>
                  <a:lnTo>
                    <a:pt x="1026" y="2136"/>
                  </a:lnTo>
                  <a:lnTo>
                    <a:pt x="1024" y="2136"/>
                  </a:lnTo>
                  <a:lnTo>
                    <a:pt x="1020" y="2138"/>
                  </a:lnTo>
                  <a:lnTo>
                    <a:pt x="1004" y="2148"/>
                  </a:lnTo>
                  <a:close/>
                  <a:moveTo>
                    <a:pt x="184" y="906"/>
                  </a:moveTo>
                  <a:lnTo>
                    <a:pt x="184" y="906"/>
                  </a:lnTo>
                  <a:lnTo>
                    <a:pt x="186" y="902"/>
                  </a:lnTo>
                  <a:lnTo>
                    <a:pt x="188" y="900"/>
                  </a:lnTo>
                  <a:lnTo>
                    <a:pt x="192" y="902"/>
                  </a:lnTo>
                  <a:lnTo>
                    <a:pt x="194" y="908"/>
                  </a:lnTo>
                  <a:lnTo>
                    <a:pt x="194" y="912"/>
                  </a:lnTo>
                  <a:lnTo>
                    <a:pt x="194" y="926"/>
                  </a:lnTo>
                  <a:lnTo>
                    <a:pt x="194" y="928"/>
                  </a:lnTo>
                  <a:lnTo>
                    <a:pt x="198" y="930"/>
                  </a:lnTo>
                  <a:lnTo>
                    <a:pt x="208" y="930"/>
                  </a:lnTo>
                  <a:lnTo>
                    <a:pt x="212" y="932"/>
                  </a:lnTo>
                  <a:lnTo>
                    <a:pt x="218" y="934"/>
                  </a:lnTo>
                  <a:lnTo>
                    <a:pt x="222" y="940"/>
                  </a:lnTo>
                  <a:lnTo>
                    <a:pt x="222" y="944"/>
                  </a:lnTo>
                  <a:lnTo>
                    <a:pt x="222" y="954"/>
                  </a:lnTo>
                  <a:lnTo>
                    <a:pt x="220" y="960"/>
                  </a:lnTo>
                  <a:lnTo>
                    <a:pt x="216" y="964"/>
                  </a:lnTo>
                  <a:lnTo>
                    <a:pt x="210" y="966"/>
                  </a:lnTo>
                  <a:lnTo>
                    <a:pt x="198" y="974"/>
                  </a:lnTo>
                  <a:lnTo>
                    <a:pt x="196" y="978"/>
                  </a:lnTo>
                  <a:lnTo>
                    <a:pt x="198" y="980"/>
                  </a:lnTo>
                  <a:lnTo>
                    <a:pt x="202" y="980"/>
                  </a:lnTo>
                  <a:lnTo>
                    <a:pt x="204" y="984"/>
                  </a:lnTo>
                  <a:lnTo>
                    <a:pt x="202" y="988"/>
                  </a:lnTo>
                  <a:lnTo>
                    <a:pt x="198" y="994"/>
                  </a:lnTo>
                  <a:lnTo>
                    <a:pt x="194" y="998"/>
                  </a:lnTo>
                  <a:lnTo>
                    <a:pt x="194" y="1004"/>
                  </a:lnTo>
                  <a:lnTo>
                    <a:pt x="194" y="1008"/>
                  </a:lnTo>
                  <a:lnTo>
                    <a:pt x="198" y="1008"/>
                  </a:lnTo>
                  <a:lnTo>
                    <a:pt x="208" y="1008"/>
                  </a:lnTo>
                  <a:lnTo>
                    <a:pt x="210" y="1010"/>
                  </a:lnTo>
                  <a:lnTo>
                    <a:pt x="210" y="1016"/>
                  </a:lnTo>
                  <a:lnTo>
                    <a:pt x="206" y="1020"/>
                  </a:lnTo>
                  <a:lnTo>
                    <a:pt x="202" y="1028"/>
                  </a:lnTo>
                  <a:lnTo>
                    <a:pt x="196" y="1032"/>
                  </a:lnTo>
                  <a:lnTo>
                    <a:pt x="190" y="1034"/>
                  </a:lnTo>
                  <a:lnTo>
                    <a:pt x="186" y="1038"/>
                  </a:lnTo>
                  <a:lnTo>
                    <a:pt x="184" y="1042"/>
                  </a:lnTo>
                  <a:lnTo>
                    <a:pt x="186" y="1046"/>
                  </a:lnTo>
                  <a:lnTo>
                    <a:pt x="188" y="1048"/>
                  </a:lnTo>
                  <a:lnTo>
                    <a:pt x="192" y="1046"/>
                  </a:lnTo>
                  <a:lnTo>
                    <a:pt x="194" y="1042"/>
                  </a:lnTo>
                  <a:lnTo>
                    <a:pt x="194" y="1040"/>
                  </a:lnTo>
                  <a:lnTo>
                    <a:pt x="198" y="1038"/>
                  </a:lnTo>
                  <a:lnTo>
                    <a:pt x="208" y="1038"/>
                  </a:lnTo>
                  <a:lnTo>
                    <a:pt x="212" y="1036"/>
                  </a:lnTo>
                  <a:lnTo>
                    <a:pt x="218" y="1034"/>
                  </a:lnTo>
                  <a:lnTo>
                    <a:pt x="222" y="1032"/>
                  </a:lnTo>
                  <a:lnTo>
                    <a:pt x="228" y="1034"/>
                  </a:lnTo>
                  <a:lnTo>
                    <a:pt x="232" y="1036"/>
                  </a:lnTo>
                  <a:lnTo>
                    <a:pt x="238" y="1034"/>
                  </a:lnTo>
                  <a:lnTo>
                    <a:pt x="244" y="1030"/>
                  </a:lnTo>
                  <a:lnTo>
                    <a:pt x="250" y="1028"/>
                  </a:lnTo>
                  <a:lnTo>
                    <a:pt x="254" y="1028"/>
                  </a:lnTo>
                  <a:lnTo>
                    <a:pt x="262" y="1028"/>
                  </a:lnTo>
                  <a:lnTo>
                    <a:pt x="268" y="1024"/>
                  </a:lnTo>
                  <a:lnTo>
                    <a:pt x="274" y="1022"/>
                  </a:lnTo>
                  <a:lnTo>
                    <a:pt x="280" y="1018"/>
                  </a:lnTo>
                  <a:lnTo>
                    <a:pt x="282" y="1014"/>
                  </a:lnTo>
                  <a:lnTo>
                    <a:pt x="282" y="1008"/>
                  </a:lnTo>
                  <a:lnTo>
                    <a:pt x="286" y="1004"/>
                  </a:lnTo>
                  <a:lnTo>
                    <a:pt x="290" y="998"/>
                  </a:lnTo>
                  <a:lnTo>
                    <a:pt x="290" y="990"/>
                  </a:lnTo>
                  <a:lnTo>
                    <a:pt x="290" y="988"/>
                  </a:lnTo>
                  <a:lnTo>
                    <a:pt x="290" y="982"/>
                  </a:lnTo>
                  <a:lnTo>
                    <a:pt x="286" y="980"/>
                  </a:lnTo>
                  <a:lnTo>
                    <a:pt x="276" y="980"/>
                  </a:lnTo>
                  <a:lnTo>
                    <a:pt x="272" y="978"/>
                  </a:lnTo>
                  <a:lnTo>
                    <a:pt x="272" y="974"/>
                  </a:lnTo>
                  <a:lnTo>
                    <a:pt x="272" y="964"/>
                  </a:lnTo>
                  <a:lnTo>
                    <a:pt x="268" y="952"/>
                  </a:lnTo>
                  <a:lnTo>
                    <a:pt x="266" y="946"/>
                  </a:lnTo>
                  <a:lnTo>
                    <a:pt x="256" y="934"/>
                  </a:lnTo>
                  <a:lnTo>
                    <a:pt x="252" y="930"/>
                  </a:lnTo>
                  <a:lnTo>
                    <a:pt x="250" y="922"/>
                  </a:lnTo>
                  <a:lnTo>
                    <a:pt x="244" y="908"/>
                  </a:lnTo>
                  <a:lnTo>
                    <a:pt x="242" y="902"/>
                  </a:lnTo>
                  <a:lnTo>
                    <a:pt x="238" y="900"/>
                  </a:lnTo>
                  <a:lnTo>
                    <a:pt x="232" y="900"/>
                  </a:lnTo>
                  <a:lnTo>
                    <a:pt x="228" y="896"/>
                  </a:lnTo>
                  <a:lnTo>
                    <a:pt x="226" y="890"/>
                  </a:lnTo>
                  <a:lnTo>
                    <a:pt x="226" y="884"/>
                  </a:lnTo>
                  <a:lnTo>
                    <a:pt x="228" y="878"/>
                  </a:lnTo>
                  <a:lnTo>
                    <a:pt x="232" y="866"/>
                  </a:lnTo>
                  <a:lnTo>
                    <a:pt x="234" y="862"/>
                  </a:lnTo>
                  <a:lnTo>
                    <a:pt x="238" y="856"/>
                  </a:lnTo>
                  <a:lnTo>
                    <a:pt x="238" y="854"/>
                  </a:lnTo>
                  <a:lnTo>
                    <a:pt x="238" y="852"/>
                  </a:lnTo>
                  <a:lnTo>
                    <a:pt x="236" y="848"/>
                  </a:lnTo>
                  <a:lnTo>
                    <a:pt x="230" y="846"/>
                  </a:lnTo>
                  <a:lnTo>
                    <a:pt x="224" y="844"/>
                  </a:lnTo>
                  <a:lnTo>
                    <a:pt x="218" y="846"/>
                  </a:lnTo>
                  <a:lnTo>
                    <a:pt x="212" y="848"/>
                  </a:lnTo>
                  <a:lnTo>
                    <a:pt x="208" y="846"/>
                  </a:lnTo>
                  <a:lnTo>
                    <a:pt x="206" y="840"/>
                  </a:lnTo>
                  <a:lnTo>
                    <a:pt x="206" y="834"/>
                  </a:lnTo>
                  <a:lnTo>
                    <a:pt x="210" y="830"/>
                  </a:lnTo>
                  <a:lnTo>
                    <a:pt x="210" y="824"/>
                  </a:lnTo>
                  <a:lnTo>
                    <a:pt x="210" y="822"/>
                  </a:lnTo>
                  <a:lnTo>
                    <a:pt x="208" y="822"/>
                  </a:lnTo>
                  <a:lnTo>
                    <a:pt x="198" y="822"/>
                  </a:lnTo>
                  <a:lnTo>
                    <a:pt x="194" y="824"/>
                  </a:lnTo>
                  <a:lnTo>
                    <a:pt x="190" y="830"/>
                  </a:lnTo>
                  <a:lnTo>
                    <a:pt x="188" y="834"/>
                  </a:lnTo>
                  <a:lnTo>
                    <a:pt x="178" y="846"/>
                  </a:lnTo>
                  <a:lnTo>
                    <a:pt x="176" y="852"/>
                  </a:lnTo>
                  <a:lnTo>
                    <a:pt x="174" y="856"/>
                  </a:lnTo>
                  <a:lnTo>
                    <a:pt x="174" y="866"/>
                  </a:lnTo>
                  <a:lnTo>
                    <a:pt x="174" y="876"/>
                  </a:lnTo>
                  <a:lnTo>
                    <a:pt x="174" y="888"/>
                  </a:lnTo>
                  <a:lnTo>
                    <a:pt x="174" y="892"/>
                  </a:lnTo>
                  <a:lnTo>
                    <a:pt x="176" y="900"/>
                  </a:lnTo>
                  <a:lnTo>
                    <a:pt x="178" y="906"/>
                  </a:lnTo>
                  <a:lnTo>
                    <a:pt x="182" y="908"/>
                  </a:lnTo>
                  <a:lnTo>
                    <a:pt x="184" y="906"/>
                  </a:lnTo>
                  <a:close/>
                  <a:moveTo>
                    <a:pt x="3012" y="2570"/>
                  </a:moveTo>
                  <a:lnTo>
                    <a:pt x="3012" y="2570"/>
                  </a:lnTo>
                  <a:lnTo>
                    <a:pt x="3004" y="2572"/>
                  </a:lnTo>
                  <a:lnTo>
                    <a:pt x="2996" y="2570"/>
                  </a:lnTo>
                  <a:lnTo>
                    <a:pt x="2992" y="2568"/>
                  </a:lnTo>
                  <a:lnTo>
                    <a:pt x="2986" y="2562"/>
                  </a:lnTo>
                  <a:lnTo>
                    <a:pt x="2980" y="2556"/>
                  </a:lnTo>
                  <a:lnTo>
                    <a:pt x="2978" y="2552"/>
                  </a:lnTo>
                  <a:lnTo>
                    <a:pt x="2976" y="2544"/>
                  </a:lnTo>
                  <a:lnTo>
                    <a:pt x="2974" y="2536"/>
                  </a:lnTo>
                  <a:lnTo>
                    <a:pt x="2974" y="2532"/>
                  </a:lnTo>
                  <a:lnTo>
                    <a:pt x="2972" y="2526"/>
                  </a:lnTo>
                  <a:lnTo>
                    <a:pt x="2968" y="2522"/>
                  </a:lnTo>
                  <a:lnTo>
                    <a:pt x="2962" y="2518"/>
                  </a:lnTo>
                  <a:lnTo>
                    <a:pt x="2958" y="2518"/>
                  </a:lnTo>
                  <a:lnTo>
                    <a:pt x="2958" y="2522"/>
                  </a:lnTo>
                  <a:lnTo>
                    <a:pt x="2970" y="2548"/>
                  </a:lnTo>
                  <a:lnTo>
                    <a:pt x="2974" y="2554"/>
                  </a:lnTo>
                  <a:lnTo>
                    <a:pt x="2974" y="2562"/>
                  </a:lnTo>
                  <a:lnTo>
                    <a:pt x="2974" y="2566"/>
                  </a:lnTo>
                  <a:lnTo>
                    <a:pt x="2974" y="2574"/>
                  </a:lnTo>
                  <a:lnTo>
                    <a:pt x="2970" y="2580"/>
                  </a:lnTo>
                  <a:lnTo>
                    <a:pt x="2960" y="2596"/>
                  </a:lnTo>
                  <a:lnTo>
                    <a:pt x="2958" y="2600"/>
                  </a:lnTo>
                  <a:lnTo>
                    <a:pt x="2958" y="2602"/>
                  </a:lnTo>
                  <a:lnTo>
                    <a:pt x="2960" y="2604"/>
                  </a:lnTo>
                  <a:lnTo>
                    <a:pt x="2962" y="2606"/>
                  </a:lnTo>
                  <a:lnTo>
                    <a:pt x="2968" y="2610"/>
                  </a:lnTo>
                  <a:lnTo>
                    <a:pt x="2972" y="2614"/>
                  </a:lnTo>
                  <a:lnTo>
                    <a:pt x="2974" y="2620"/>
                  </a:lnTo>
                  <a:lnTo>
                    <a:pt x="2974" y="2624"/>
                  </a:lnTo>
                  <a:lnTo>
                    <a:pt x="2976" y="2632"/>
                  </a:lnTo>
                  <a:lnTo>
                    <a:pt x="2980" y="2638"/>
                  </a:lnTo>
                  <a:lnTo>
                    <a:pt x="2982" y="2638"/>
                  </a:lnTo>
                  <a:lnTo>
                    <a:pt x="2984" y="2638"/>
                  </a:lnTo>
                  <a:lnTo>
                    <a:pt x="2990" y="2636"/>
                  </a:lnTo>
                  <a:lnTo>
                    <a:pt x="2998" y="2628"/>
                  </a:lnTo>
                  <a:lnTo>
                    <a:pt x="3002" y="2622"/>
                  </a:lnTo>
                  <a:lnTo>
                    <a:pt x="3004" y="2614"/>
                  </a:lnTo>
                  <a:lnTo>
                    <a:pt x="3004" y="2610"/>
                  </a:lnTo>
                  <a:lnTo>
                    <a:pt x="3006" y="2604"/>
                  </a:lnTo>
                  <a:lnTo>
                    <a:pt x="3008" y="2598"/>
                  </a:lnTo>
                  <a:lnTo>
                    <a:pt x="3018" y="2588"/>
                  </a:lnTo>
                  <a:lnTo>
                    <a:pt x="3028" y="2578"/>
                  </a:lnTo>
                  <a:lnTo>
                    <a:pt x="3030" y="2574"/>
                  </a:lnTo>
                  <a:lnTo>
                    <a:pt x="3028" y="2568"/>
                  </a:lnTo>
                  <a:lnTo>
                    <a:pt x="3024" y="2566"/>
                  </a:lnTo>
                  <a:lnTo>
                    <a:pt x="3016" y="2568"/>
                  </a:lnTo>
                  <a:lnTo>
                    <a:pt x="3012" y="2570"/>
                  </a:lnTo>
                  <a:close/>
                  <a:moveTo>
                    <a:pt x="490" y="1328"/>
                  </a:moveTo>
                  <a:lnTo>
                    <a:pt x="490" y="1328"/>
                  </a:lnTo>
                  <a:lnTo>
                    <a:pt x="494" y="1328"/>
                  </a:lnTo>
                  <a:lnTo>
                    <a:pt x="496" y="1328"/>
                  </a:lnTo>
                  <a:lnTo>
                    <a:pt x="498" y="1326"/>
                  </a:lnTo>
                  <a:lnTo>
                    <a:pt x="498" y="1324"/>
                  </a:lnTo>
                  <a:lnTo>
                    <a:pt x="498" y="1320"/>
                  </a:lnTo>
                  <a:lnTo>
                    <a:pt x="498" y="1306"/>
                  </a:lnTo>
                  <a:lnTo>
                    <a:pt x="496" y="1304"/>
                  </a:lnTo>
                  <a:lnTo>
                    <a:pt x="490" y="1302"/>
                  </a:lnTo>
                  <a:lnTo>
                    <a:pt x="486" y="1302"/>
                  </a:lnTo>
                  <a:lnTo>
                    <a:pt x="470" y="1304"/>
                  </a:lnTo>
                  <a:lnTo>
                    <a:pt x="456" y="1310"/>
                  </a:lnTo>
                  <a:lnTo>
                    <a:pt x="454" y="1312"/>
                  </a:lnTo>
                  <a:lnTo>
                    <a:pt x="456" y="1314"/>
                  </a:lnTo>
                  <a:lnTo>
                    <a:pt x="470" y="1320"/>
                  </a:lnTo>
                  <a:lnTo>
                    <a:pt x="486" y="1326"/>
                  </a:lnTo>
                  <a:lnTo>
                    <a:pt x="490" y="1328"/>
                  </a:lnTo>
                  <a:close/>
                  <a:moveTo>
                    <a:pt x="2940" y="2636"/>
                  </a:moveTo>
                  <a:lnTo>
                    <a:pt x="2940" y="2636"/>
                  </a:lnTo>
                  <a:lnTo>
                    <a:pt x="2938" y="2636"/>
                  </a:lnTo>
                  <a:lnTo>
                    <a:pt x="2936" y="2636"/>
                  </a:lnTo>
                  <a:lnTo>
                    <a:pt x="2932" y="2640"/>
                  </a:lnTo>
                  <a:lnTo>
                    <a:pt x="2928" y="2644"/>
                  </a:lnTo>
                  <a:lnTo>
                    <a:pt x="2922" y="2658"/>
                  </a:lnTo>
                  <a:lnTo>
                    <a:pt x="2920" y="2664"/>
                  </a:lnTo>
                  <a:lnTo>
                    <a:pt x="2910" y="2676"/>
                  </a:lnTo>
                  <a:lnTo>
                    <a:pt x="2906" y="2680"/>
                  </a:lnTo>
                  <a:lnTo>
                    <a:pt x="2898" y="2684"/>
                  </a:lnTo>
                  <a:lnTo>
                    <a:pt x="2884" y="2688"/>
                  </a:lnTo>
                  <a:lnTo>
                    <a:pt x="2878" y="2692"/>
                  </a:lnTo>
                  <a:lnTo>
                    <a:pt x="2872" y="2698"/>
                  </a:lnTo>
                  <a:lnTo>
                    <a:pt x="2870" y="2704"/>
                  </a:lnTo>
                  <a:lnTo>
                    <a:pt x="2864" y="2718"/>
                  </a:lnTo>
                  <a:lnTo>
                    <a:pt x="2860" y="2732"/>
                  </a:lnTo>
                  <a:lnTo>
                    <a:pt x="2858" y="2740"/>
                  </a:lnTo>
                  <a:lnTo>
                    <a:pt x="2862" y="2746"/>
                  </a:lnTo>
                  <a:lnTo>
                    <a:pt x="2874" y="2754"/>
                  </a:lnTo>
                  <a:lnTo>
                    <a:pt x="2880" y="2756"/>
                  </a:lnTo>
                  <a:lnTo>
                    <a:pt x="2886" y="2758"/>
                  </a:lnTo>
                  <a:lnTo>
                    <a:pt x="2894" y="2756"/>
                  </a:lnTo>
                  <a:lnTo>
                    <a:pt x="2898" y="2754"/>
                  </a:lnTo>
                  <a:lnTo>
                    <a:pt x="2904" y="2750"/>
                  </a:lnTo>
                  <a:lnTo>
                    <a:pt x="2908" y="2742"/>
                  </a:lnTo>
                  <a:lnTo>
                    <a:pt x="2914" y="2728"/>
                  </a:lnTo>
                  <a:lnTo>
                    <a:pt x="2916" y="2712"/>
                  </a:lnTo>
                  <a:lnTo>
                    <a:pt x="2916" y="2708"/>
                  </a:lnTo>
                  <a:lnTo>
                    <a:pt x="2918" y="2702"/>
                  </a:lnTo>
                  <a:lnTo>
                    <a:pt x="2922" y="2696"/>
                  </a:lnTo>
                  <a:lnTo>
                    <a:pt x="2930" y="2686"/>
                  </a:lnTo>
                  <a:lnTo>
                    <a:pt x="2940" y="2676"/>
                  </a:lnTo>
                  <a:lnTo>
                    <a:pt x="2952" y="2668"/>
                  </a:lnTo>
                  <a:lnTo>
                    <a:pt x="2958" y="2666"/>
                  </a:lnTo>
                  <a:lnTo>
                    <a:pt x="2962" y="2660"/>
                  </a:lnTo>
                  <a:lnTo>
                    <a:pt x="2964" y="2654"/>
                  </a:lnTo>
                  <a:lnTo>
                    <a:pt x="2964" y="2650"/>
                  </a:lnTo>
                  <a:lnTo>
                    <a:pt x="2964" y="2646"/>
                  </a:lnTo>
                  <a:lnTo>
                    <a:pt x="2962" y="2644"/>
                  </a:lnTo>
                  <a:lnTo>
                    <a:pt x="2960" y="2642"/>
                  </a:lnTo>
                  <a:lnTo>
                    <a:pt x="2956" y="2642"/>
                  </a:lnTo>
                  <a:lnTo>
                    <a:pt x="2954" y="2642"/>
                  </a:lnTo>
                  <a:lnTo>
                    <a:pt x="2946" y="2640"/>
                  </a:lnTo>
                  <a:lnTo>
                    <a:pt x="2940" y="2636"/>
                  </a:lnTo>
                  <a:close/>
                  <a:moveTo>
                    <a:pt x="406" y="1248"/>
                  </a:moveTo>
                  <a:lnTo>
                    <a:pt x="406" y="1248"/>
                  </a:lnTo>
                  <a:lnTo>
                    <a:pt x="402" y="1254"/>
                  </a:lnTo>
                  <a:lnTo>
                    <a:pt x="400" y="1260"/>
                  </a:lnTo>
                  <a:lnTo>
                    <a:pt x="400" y="1274"/>
                  </a:lnTo>
                  <a:lnTo>
                    <a:pt x="400" y="1278"/>
                  </a:lnTo>
                  <a:lnTo>
                    <a:pt x="402" y="1280"/>
                  </a:lnTo>
                  <a:lnTo>
                    <a:pt x="404" y="1282"/>
                  </a:lnTo>
                  <a:lnTo>
                    <a:pt x="408" y="1282"/>
                  </a:lnTo>
                  <a:lnTo>
                    <a:pt x="412" y="1282"/>
                  </a:lnTo>
                  <a:lnTo>
                    <a:pt x="416" y="1282"/>
                  </a:lnTo>
                  <a:lnTo>
                    <a:pt x="418" y="1280"/>
                  </a:lnTo>
                  <a:lnTo>
                    <a:pt x="420" y="1278"/>
                  </a:lnTo>
                  <a:lnTo>
                    <a:pt x="420" y="1274"/>
                  </a:lnTo>
                  <a:lnTo>
                    <a:pt x="420" y="1270"/>
                  </a:lnTo>
                  <a:lnTo>
                    <a:pt x="418" y="1262"/>
                  </a:lnTo>
                  <a:lnTo>
                    <a:pt x="416" y="1256"/>
                  </a:lnTo>
                  <a:lnTo>
                    <a:pt x="414" y="1250"/>
                  </a:lnTo>
                  <a:lnTo>
                    <a:pt x="412" y="1248"/>
                  </a:lnTo>
                  <a:lnTo>
                    <a:pt x="410" y="1246"/>
                  </a:lnTo>
                  <a:lnTo>
                    <a:pt x="408" y="1246"/>
                  </a:lnTo>
                  <a:lnTo>
                    <a:pt x="406" y="1248"/>
                  </a:lnTo>
                  <a:close/>
                  <a:moveTo>
                    <a:pt x="2286" y="1412"/>
                  </a:moveTo>
                  <a:lnTo>
                    <a:pt x="2286" y="1412"/>
                  </a:lnTo>
                  <a:lnTo>
                    <a:pt x="2290" y="1424"/>
                  </a:lnTo>
                  <a:lnTo>
                    <a:pt x="2290" y="1426"/>
                  </a:lnTo>
                  <a:lnTo>
                    <a:pt x="2292" y="1426"/>
                  </a:lnTo>
                  <a:lnTo>
                    <a:pt x="2296" y="1426"/>
                  </a:lnTo>
                  <a:lnTo>
                    <a:pt x="2302" y="1422"/>
                  </a:lnTo>
                  <a:lnTo>
                    <a:pt x="2306" y="1418"/>
                  </a:lnTo>
                  <a:lnTo>
                    <a:pt x="2308" y="1410"/>
                  </a:lnTo>
                  <a:lnTo>
                    <a:pt x="2308" y="1408"/>
                  </a:lnTo>
                  <a:lnTo>
                    <a:pt x="2308" y="1394"/>
                  </a:lnTo>
                  <a:lnTo>
                    <a:pt x="2308" y="1392"/>
                  </a:lnTo>
                  <a:lnTo>
                    <a:pt x="2306" y="1392"/>
                  </a:lnTo>
                  <a:lnTo>
                    <a:pt x="2302" y="1392"/>
                  </a:lnTo>
                  <a:lnTo>
                    <a:pt x="2288" y="1396"/>
                  </a:lnTo>
                  <a:lnTo>
                    <a:pt x="2284" y="1398"/>
                  </a:lnTo>
                  <a:lnTo>
                    <a:pt x="2284" y="1400"/>
                  </a:lnTo>
                  <a:lnTo>
                    <a:pt x="2282" y="1404"/>
                  </a:lnTo>
                  <a:lnTo>
                    <a:pt x="2284" y="1406"/>
                  </a:lnTo>
                  <a:lnTo>
                    <a:pt x="2286" y="1412"/>
                  </a:lnTo>
                  <a:close/>
                  <a:moveTo>
                    <a:pt x="414" y="1210"/>
                  </a:moveTo>
                  <a:lnTo>
                    <a:pt x="414" y="1210"/>
                  </a:lnTo>
                  <a:lnTo>
                    <a:pt x="412" y="1208"/>
                  </a:lnTo>
                  <a:lnTo>
                    <a:pt x="410" y="1206"/>
                  </a:lnTo>
                  <a:lnTo>
                    <a:pt x="406" y="1206"/>
                  </a:lnTo>
                  <a:lnTo>
                    <a:pt x="404" y="1208"/>
                  </a:lnTo>
                  <a:lnTo>
                    <a:pt x="398" y="1210"/>
                  </a:lnTo>
                  <a:lnTo>
                    <a:pt x="396" y="1212"/>
                  </a:lnTo>
                  <a:lnTo>
                    <a:pt x="394" y="1214"/>
                  </a:lnTo>
                  <a:lnTo>
                    <a:pt x="394" y="1216"/>
                  </a:lnTo>
                  <a:lnTo>
                    <a:pt x="396" y="1220"/>
                  </a:lnTo>
                  <a:lnTo>
                    <a:pt x="404" y="1228"/>
                  </a:lnTo>
                  <a:lnTo>
                    <a:pt x="410" y="1230"/>
                  </a:lnTo>
                  <a:lnTo>
                    <a:pt x="412" y="1230"/>
                  </a:lnTo>
                  <a:lnTo>
                    <a:pt x="416" y="1228"/>
                  </a:lnTo>
                  <a:lnTo>
                    <a:pt x="418" y="1224"/>
                  </a:lnTo>
                  <a:lnTo>
                    <a:pt x="416" y="1216"/>
                  </a:lnTo>
                  <a:lnTo>
                    <a:pt x="414" y="1210"/>
                  </a:lnTo>
                  <a:close/>
                  <a:moveTo>
                    <a:pt x="2302" y="1960"/>
                  </a:moveTo>
                  <a:lnTo>
                    <a:pt x="2302" y="1960"/>
                  </a:lnTo>
                  <a:lnTo>
                    <a:pt x="2302" y="1962"/>
                  </a:lnTo>
                  <a:lnTo>
                    <a:pt x="2302" y="1966"/>
                  </a:lnTo>
                  <a:lnTo>
                    <a:pt x="2304" y="1968"/>
                  </a:lnTo>
                  <a:lnTo>
                    <a:pt x="2306" y="1970"/>
                  </a:lnTo>
                  <a:lnTo>
                    <a:pt x="2312" y="1974"/>
                  </a:lnTo>
                  <a:lnTo>
                    <a:pt x="2324" y="1982"/>
                  </a:lnTo>
                  <a:lnTo>
                    <a:pt x="2326" y="1988"/>
                  </a:lnTo>
                  <a:lnTo>
                    <a:pt x="2328" y="1994"/>
                  </a:lnTo>
                  <a:lnTo>
                    <a:pt x="2328" y="1998"/>
                  </a:lnTo>
                  <a:lnTo>
                    <a:pt x="2328" y="2002"/>
                  </a:lnTo>
                  <a:lnTo>
                    <a:pt x="2330" y="2004"/>
                  </a:lnTo>
                  <a:lnTo>
                    <a:pt x="2334" y="2006"/>
                  </a:lnTo>
                  <a:lnTo>
                    <a:pt x="2336" y="2006"/>
                  </a:lnTo>
                  <a:lnTo>
                    <a:pt x="2340" y="2006"/>
                  </a:lnTo>
                  <a:lnTo>
                    <a:pt x="2352" y="2006"/>
                  </a:lnTo>
                  <a:lnTo>
                    <a:pt x="2358" y="2008"/>
                  </a:lnTo>
                  <a:lnTo>
                    <a:pt x="2364" y="2010"/>
                  </a:lnTo>
                  <a:lnTo>
                    <a:pt x="2380" y="2022"/>
                  </a:lnTo>
                  <a:lnTo>
                    <a:pt x="2394" y="2030"/>
                  </a:lnTo>
                  <a:lnTo>
                    <a:pt x="2420" y="2042"/>
                  </a:lnTo>
                  <a:lnTo>
                    <a:pt x="2424" y="2046"/>
                  </a:lnTo>
                  <a:lnTo>
                    <a:pt x="2426" y="2050"/>
                  </a:lnTo>
                  <a:lnTo>
                    <a:pt x="2424" y="2054"/>
                  </a:lnTo>
                  <a:lnTo>
                    <a:pt x="2420" y="2058"/>
                  </a:lnTo>
                  <a:lnTo>
                    <a:pt x="2414" y="2062"/>
                  </a:lnTo>
                  <a:lnTo>
                    <a:pt x="2410" y="2064"/>
                  </a:lnTo>
                  <a:lnTo>
                    <a:pt x="2414" y="2066"/>
                  </a:lnTo>
                  <a:lnTo>
                    <a:pt x="2418" y="2066"/>
                  </a:lnTo>
                  <a:lnTo>
                    <a:pt x="2426" y="2066"/>
                  </a:lnTo>
                  <a:lnTo>
                    <a:pt x="2434" y="2068"/>
                  </a:lnTo>
                  <a:lnTo>
                    <a:pt x="2438" y="2072"/>
                  </a:lnTo>
                  <a:lnTo>
                    <a:pt x="2452" y="2078"/>
                  </a:lnTo>
                  <a:lnTo>
                    <a:pt x="2458" y="2082"/>
                  </a:lnTo>
                  <a:lnTo>
                    <a:pt x="2470" y="2084"/>
                  </a:lnTo>
                  <a:lnTo>
                    <a:pt x="2476" y="2084"/>
                  </a:lnTo>
                  <a:lnTo>
                    <a:pt x="2480" y="2080"/>
                  </a:lnTo>
                  <a:lnTo>
                    <a:pt x="2488" y="2070"/>
                  </a:lnTo>
                  <a:lnTo>
                    <a:pt x="2502" y="2062"/>
                  </a:lnTo>
                  <a:lnTo>
                    <a:pt x="2508" y="2058"/>
                  </a:lnTo>
                  <a:lnTo>
                    <a:pt x="2514" y="2058"/>
                  </a:lnTo>
                  <a:lnTo>
                    <a:pt x="2522" y="2058"/>
                  </a:lnTo>
                  <a:lnTo>
                    <a:pt x="2526" y="2062"/>
                  </a:lnTo>
                  <a:lnTo>
                    <a:pt x="2540" y="2070"/>
                  </a:lnTo>
                  <a:lnTo>
                    <a:pt x="2558" y="2088"/>
                  </a:lnTo>
                  <a:lnTo>
                    <a:pt x="2570" y="2098"/>
                  </a:lnTo>
                  <a:lnTo>
                    <a:pt x="2576" y="2100"/>
                  </a:lnTo>
                  <a:lnTo>
                    <a:pt x="2578" y="2102"/>
                  </a:lnTo>
                  <a:lnTo>
                    <a:pt x="2580" y="2100"/>
                  </a:lnTo>
                  <a:lnTo>
                    <a:pt x="2582" y="2100"/>
                  </a:lnTo>
                  <a:lnTo>
                    <a:pt x="2582" y="2096"/>
                  </a:lnTo>
                  <a:lnTo>
                    <a:pt x="2582" y="2082"/>
                  </a:lnTo>
                  <a:lnTo>
                    <a:pt x="2580" y="2076"/>
                  </a:lnTo>
                  <a:lnTo>
                    <a:pt x="2576" y="2072"/>
                  </a:lnTo>
                  <a:lnTo>
                    <a:pt x="2560" y="2068"/>
                  </a:lnTo>
                  <a:lnTo>
                    <a:pt x="2556" y="2064"/>
                  </a:lnTo>
                  <a:lnTo>
                    <a:pt x="2554" y="2058"/>
                  </a:lnTo>
                  <a:lnTo>
                    <a:pt x="2554" y="2054"/>
                  </a:lnTo>
                  <a:lnTo>
                    <a:pt x="2554" y="2046"/>
                  </a:lnTo>
                  <a:lnTo>
                    <a:pt x="2558" y="2040"/>
                  </a:lnTo>
                  <a:lnTo>
                    <a:pt x="2560" y="2038"/>
                  </a:lnTo>
                  <a:lnTo>
                    <a:pt x="2560" y="2036"/>
                  </a:lnTo>
                  <a:lnTo>
                    <a:pt x="2556" y="2034"/>
                  </a:lnTo>
                  <a:lnTo>
                    <a:pt x="2542" y="2028"/>
                  </a:lnTo>
                  <a:lnTo>
                    <a:pt x="2534" y="2024"/>
                  </a:lnTo>
                  <a:lnTo>
                    <a:pt x="2530" y="2018"/>
                  </a:lnTo>
                  <a:lnTo>
                    <a:pt x="2528" y="2014"/>
                  </a:lnTo>
                  <a:lnTo>
                    <a:pt x="2524" y="2006"/>
                  </a:lnTo>
                  <a:lnTo>
                    <a:pt x="2518" y="2002"/>
                  </a:lnTo>
                  <a:lnTo>
                    <a:pt x="2502" y="1992"/>
                  </a:lnTo>
                  <a:lnTo>
                    <a:pt x="2486" y="1984"/>
                  </a:lnTo>
                  <a:lnTo>
                    <a:pt x="2424" y="1968"/>
                  </a:lnTo>
                  <a:lnTo>
                    <a:pt x="2416" y="1968"/>
                  </a:lnTo>
                  <a:lnTo>
                    <a:pt x="2410" y="1972"/>
                  </a:lnTo>
                  <a:lnTo>
                    <a:pt x="2394" y="1982"/>
                  </a:lnTo>
                  <a:lnTo>
                    <a:pt x="2386" y="1986"/>
                  </a:lnTo>
                  <a:lnTo>
                    <a:pt x="2378" y="1986"/>
                  </a:lnTo>
                  <a:lnTo>
                    <a:pt x="2376" y="1986"/>
                  </a:lnTo>
                  <a:lnTo>
                    <a:pt x="2368" y="1986"/>
                  </a:lnTo>
                  <a:lnTo>
                    <a:pt x="2362" y="1982"/>
                  </a:lnTo>
                  <a:lnTo>
                    <a:pt x="2354" y="1972"/>
                  </a:lnTo>
                  <a:lnTo>
                    <a:pt x="2342" y="1962"/>
                  </a:lnTo>
                  <a:lnTo>
                    <a:pt x="2334" y="1954"/>
                  </a:lnTo>
                  <a:lnTo>
                    <a:pt x="2328" y="1950"/>
                  </a:lnTo>
                  <a:lnTo>
                    <a:pt x="2320" y="1948"/>
                  </a:lnTo>
                  <a:lnTo>
                    <a:pt x="2316" y="1948"/>
                  </a:lnTo>
                  <a:lnTo>
                    <a:pt x="2310" y="1950"/>
                  </a:lnTo>
                  <a:lnTo>
                    <a:pt x="2306" y="1954"/>
                  </a:lnTo>
                  <a:lnTo>
                    <a:pt x="2302" y="1960"/>
                  </a:lnTo>
                  <a:close/>
                  <a:moveTo>
                    <a:pt x="2606" y="2298"/>
                  </a:moveTo>
                  <a:lnTo>
                    <a:pt x="2606" y="2298"/>
                  </a:lnTo>
                  <a:lnTo>
                    <a:pt x="2602" y="2290"/>
                  </a:lnTo>
                  <a:lnTo>
                    <a:pt x="2598" y="2284"/>
                  </a:lnTo>
                  <a:lnTo>
                    <a:pt x="2594" y="2280"/>
                  </a:lnTo>
                  <a:lnTo>
                    <a:pt x="2590" y="2272"/>
                  </a:lnTo>
                  <a:lnTo>
                    <a:pt x="2586" y="2258"/>
                  </a:lnTo>
                  <a:lnTo>
                    <a:pt x="2582" y="2252"/>
                  </a:lnTo>
                  <a:lnTo>
                    <a:pt x="2576" y="2248"/>
                  </a:lnTo>
                  <a:lnTo>
                    <a:pt x="2562" y="2244"/>
                  </a:lnTo>
                  <a:lnTo>
                    <a:pt x="2548" y="2236"/>
                  </a:lnTo>
                  <a:lnTo>
                    <a:pt x="2532" y="2226"/>
                  </a:lnTo>
                  <a:lnTo>
                    <a:pt x="2526" y="2220"/>
                  </a:lnTo>
                  <a:lnTo>
                    <a:pt x="2522" y="2214"/>
                  </a:lnTo>
                  <a:lnTo>
                    <a:pt x="2516" y="2180"/>
                  </a:lnTo>
                  <a:lnTo>
                    <a:pt x="2514" y="2174"/>
                  </a:lnTo>
                  <a:lnTo>
                    <a:pt x="2510" y="2168"/>
                  </a:lnTo>
                  <a:lnTo>
                    <a:pt x="2500" y="2158"/>
                  </a:lnTo>
                  <a:lnTo>
                    <a:pt x="2496" y="2152"/>
                  </a:lnTo>
                  <a:lnTo>
                    <a:pt x="2492" y="2146"/>
                  </a:lnTo>
                  <a:lnTo>
                    <a:pt x="2488" y="2130"/>
                  </a:lnTo>
                  <a:lnTo>
                    <a:pt x="2486" y="2128"/>
                  </a:lnTo>
                  <a:lnTo>
                    <a:pt x="2484" y="2128"/>
                  </a:lnTo>
                  <a:lnTo>
                    <a:pt x="2482" y="2128"/>
                  </a:lnTo>
                  <a:lnTo>
                    <a:pt x="2480" y="2128"/>
                  </a:lnTo>
                  <a:lnTo>
                    <a:pt x="2472" y="2138"/>
                  </a:lnTo>
                  <a:lnTo>
                    <a:pt x="2468" y="2144"/>
                  </a:lnTo>
                  <a:lnTo>
                    <a:pt x="2466" y="2150"/>
                  </a:lnTo>
                  <a:lnTo>
                    <a:pt x="2466" y="2184"/>
                  </a:lnTo>
                  <a:lnTo>
                    <a:pt x="2464" y="2192"/>
                  </a:lnTo>
                  <a:lnTo>
                    <a:pt x="2460" y="2198"/>
                  </a:lnTo>
                  <a:lnTo>
                    <a:pt x="2452" y="2206"/>
                  </a:lnTo>
                  <a:lnTo>
                    <a:pt x="2446" y="2210"/>
                  </a:lnTo>
                  <a:lnTo>
                    <a:pt x="2438" y="2212"/>
                  </a:lnTo>
                  <a:lnTo>
                    <a:pt x="2434" y="2212"/>
                  </a:lnTo>
                  <a:lnTo>
                    <a:pt x="2428" y="2210"/>
                  </a:lnTo>
                  <a:lnTo>
                    <a:pt x="2422" y="2204"/>
                  </a:lnTo>
                  <a:lnTo>
                    <a:pt x="2412" y="2188"/>
                  </a:lnTo>
                  <a:lnTo>
                    <a:pt x="2406" y="2184"/>
                  </a:lnTo>
                  <a:lnTo>
                    <a:pt x="2398" y="2182"/>
                  </a:lnTo>
                  <a:lnTo>
                    <a:pt x="2396" y="2182"/>
                  </a:lnTo>
                  <a:lnTo>
                    <a:pt x="2388" y="2180"/>
                  </a:lnTo>
                  <a:lnTo>
                    <a:pt x="2380" y="2178"/>
                  </a:lnTo>
                  <a:lnTo>
                    <a:pt x="2374" y="2176"/>
                  </a:lnTo>
                  <a:lnTo>
                    <a:pt x="2372" y="2174"/>
                  </a:lnTo>
                  <a:lnTo>
                    <a:pt x="2370" y="2172"/>
                  </a:lnTo>
                  <a:lnTo>
                    <a:pt x="2370" y="2168"/>
                  </a:lnTo>
                  <a:lnTo>
                    <a:pt x="2372" y="2164"/>
                  </a:lnTo>
                  <a:lnTo>
                    <a:pt x="2374" y="2160"/>
                  </a:lnTo>
                  <a:lnTo>
                    <a:pt x="2382" y="2146"/>
                  </a:lnTo>
                  <a:lnTo>
                    <a:pt x="2384" y="2140"/>
                  </a:lnTo>
                  <a:lnTo>
                    <a:pt x="2384" y="2138"/>
                  </a:lnTo>
                  <a:lnTo>
                    <a:pt x="2384" y="2134"/>
                  </a:lnTo>
                  <a:lnTo>
                    <a:pt x="2382" y="2132"/>
                  </a:lnTo>
                  <a:lnTo>
                    <a:pt x="2380" y="2132"/>
                  </a:lnTo>
                  <a:lnTo>
                    <a:pt x="2356" y="2126"/>
                  </a:lnTo>
                  <a:lnTo>
                    <a:pt x="2340" y="2124"/>
                  </a:lnTo>
                  <a:lnTo>
                    <a:pt x="2336" y="2124"/>
                  </a:lnTo>
                  <a:lnTo>
                    <a:pt x="2330" y="2124"/>
                  </a:lnTo>
                  <a:lnTo>
                    <a:pt x="2324" y="2128"/>
                  </a:lnTo>
                  <a:lnTo>
                    <a:pt x="2312" y="2136"/>
                  </a:lnTo>
                  <a:lnTo>
                    <a:pt x="2306" y="2140"/>
                  </a:lnTo>
                  <a:lnTo>
                    <a:pt x="2292" y="2146"/>
                  </a:lnTo>
                  <a:lnTo>
                    <a:pt x="2286" y="2150"/>
                  </a:lnTo>
                  <a:lnTo>
                    <a:pt x="2280" y="2154"/>
                  </a:lnTo>
                  <a:lnTo>
                    <a:pt x="2276" y="2160"/>
                  </a:lnTo>
                  <a:lnTo>
                    <a:pt x="2274" y="2164"/>
                  </a:lnTo>
                  <a:lnTo>
                    <a:pt x="2270" y="2170"/>
                  </a:lnTo>
                  <a:lnTo>
                    <a:pt x="2264" y="2172"/>
                  </a:lnTo>
                  <a:lnTo>
                    <a:pt x="2252" y="2168"/>
                  </a:lnTo>
                  <a:lnTo>
                    <a:pt x="2248" y="2166"/>
                  </a:lnTo>
                  <a:lnTo>
                    <a:pt x="2240" y="2164"/>
                  </a:lnTo>
                  <a:lnTo>
                    <a:pt x="2234" y="2166"/>
                  </a:lnTo>
                  <a:lnTo>
                    <a:pt x="2228" y="2168"/>
                  </a:lnTo>
                  <a:lnTo>
                    <a:pt x="2214" y="2176"/>
                  </a:lnTo>
                  <a:lnTo>
                    <a:pt x="2198" y="2188"/>
                  </a:lnTo>
                  <a:lnTo>
                    <a:pt x="2184" y="2196"/>
                  </a:lnTo>
                  <a:lnTo>
                    <a:pt x="2178" y="2198"/>
                  </a:lnTo>
                  <a:lnTo>
                    <a:pt x="2164" y="2206"/>
                  </a:lnTo>
                  <a:lnTo>
                    <a:pt x="2160" y="2208"/>
                  </a:lnTo>
                  <a:lnTo>
                    <a:pt x="2154" y="2212"/>
                  </a:lnTo>
                  <a:lnTo>
                    <a:pt x="2150" y="2220"/>
                  </a:lnTo>
                  <a:lnTo>
                    <a:pt x="2144" y="2234"/>
                  </a:lnTo>
                  <a:lnTo>
                    <a:pt x="2140" y="2238"/>
                  </a:lnTo>
                  <a:lnTo>
                    <a:pt x="2134" y="2240"/>
                  </a:lnTo>
                  <a:lnTo>
                    <a:pt x="2130" y="2240"/>
                  </a:lnTo>
                  <a:lnTo>
                    <a:pt x="2124" y="2242"/>
                  </a:lnTo>
                  <a:lnTo>
                    <a:pt x="2116" y="2246"/>
                  </a:lnTo>
                  <a:lnTo>
                    <a:pt x="2100" y="2256"/>
                  </a:lnTo>
                  <a:lnTo>
                    <a:pt x="2086" y="2264"/>
                  </a:lnTo>
                  <a:lnTo>
                    <a:pt x="2062" y="2276"/>
                  </a:lnTo>
                  <a:lnTo>
                    <a:pt x="2048" y="2286"/>
                  </a:lnTo>
                  <a:lnTo>
                    <a:pt x="2040" y="2294"/>
                  </a:lnTo>
                  <a:lnTo>
                    <a:pt x="2030" y="2306"/>
                  </a:lnTo>
                  <a:lnTo>
                    <a:pt x="2028" y="2312"/>
                  </a:lnTo>
                  <a:lnTo>
                    <a:pt x="2026" y="2320"/>
                  </a:lnTo>
                  <a:lnTo>
                    <a:pt x="2028" y="2326"/>
                  </a:lnTo>
                  <a:lnTo>
                    <a:pt x="2032" y="2340"/>
                  </a:lnTo>
                  <a:lnTo>
                    <a:pt x="2034" y="2356"/>
                  </a:lnTo>
                  <a:lnTo>
                    <a:pt x="2034" y="2360"/>
                  </a:lnTo>
                  <a:lnTo>
                    <a:pt x="2036" y="2376"/>
                  </a:lnTo>
                  <a:lnTo>
                    <a:pt x="2052" y="2428"/>
                  </a:lnTo>
                  <a:lnTo>
                    <a:pt x="2054" y="2444"/>
                  </a:lnTo>
                  <a:lnTo>
                    <a:pt x="2054" y="2448"/>
                  </a:lnTo>
                  <a:lnTo>
                    <a:pt x="2054" y="2464"/>
                  </a:lnTo>
                  <a:lnTo>
                    <a:pt x="2054" y="2488"/>
                  </a:lnTo>
                  <a:lnTo>
                    <a:pt x="2056" y="2494"/>
                  </a:lnTo>
                  <a:lnTo>
                    <a:pt x="2060" y="2500"/>
                  </a:lnTo>
                  <a:lnTo>
                    <a:pt x="2068" y="2510"/>
                  </a:lnTo>
                  <a:lnTo>
                    <a:pt x="2074" y="2514"/>
                  </a:lnTo>
                  <a:lnTo>
                    <a:pt x="2082" y="2514"/>
                  </a:lnTo>
                  <a:lnTo>
                    <a:pt x="2086" y="2514"/>
                  </a:lnTo>
                  <a:lnTo>
                    <a:pt x="2100" y="2512"/>
                  </a:lnTo>
                  <a:lnTo>
                    <a:pt x="2116" y="2508"/>
                  </a:lnTo>
                  <a:lnTo>
                    <a:pt x="2130" y="2502"/>
                  </a:lnTo>
                  <a:lnTo>
                    <a:pt x="2136" y="2498"/>
                  </a:lnTo>
                  <a:lnTo>
                    <a:pt x="2142" y="2496"/>
                  </a:lnTo>
                  <a:lnTo>
                    <a:pt x="2150" y="2496"/>
                  </a:lnTo>
                  <a:lnTo>
                    <a:pt x="2154" y="2496"/>
                  </a:lnTo>
                  <a:lnTo>
                    <a:pt x="2170" y="2492"/>
                  </a:lnTo>
                  <a:lnTo>
                    <a:pt x="2184" y="2488"/>
                  </a:lnTo>
                  <a:lnTo>
                    <a:pt x="2190" y="2484"/>
                  </a:lnTo>
                  <a:lnTo>
                    <a:pt x="2192" y="2480"/>
                  </a:lnTo>
                  <a:lnTo>
                    <a:pt x="2194" y="2476"/>
                  </a:lnTo>
                  <a:lnTo>
                    <a:pt x="2198" y="2472"/>
                  </a:lnTo>
                  <a:lnTo>
                    <a:pt x="2232" y="2460"/>
                  </a:lnTo>
                  <a:lnTo>
                    <a:pt x="2240" y="2458"/>
                  </a:lnTo>
                  <a:lnTo>
                    <a:pt x="2248" y="2456"/>
                  </a:lnTo>
                  <a:lnTo>
                    <a:pt x="2272" y="2456"/>
                  </a:lnTo>
                  <a:lnTo>
                    <a:pt x="2288" y="2458"/>
                  </a:lnTo>
                  <a:lnTo>
                    <a:pt x="2330" y="2464"/>
                  </a:lnTo>
                  <a:lnTo>
                    <a:pt x="2338" y="2468"/>
                  </a:lnTo>
                  <a:lnTo>
                    <a:pt x="2344" y="2472"/>
                  </a:lnTo>
                  <a:lnTo>
                    <a:pt x="2362" y="2490"/>
                  </a:lnTo>
                  <a:lnTo>
                    <a:pt x="2374" y="2500"/>
                  </a:lnTo>
                  <a:lnTo>
                    <a:pt x="2382" y="2510"/>
                  </a:lnTo>
                  <a:lnTo>
                    <a:pt x="2388" y="2514"/>
                  </a:lnTo>
                  <a:lnTo>
                    <a:pt x="2396" y="2514"/>
                  </a:lnTo>
                  <a:lnTo>
                    <a:pt x="2398" y="2514"/>
                  </a:lnTo>
                  <a:lnTo>
                    <a:pt x="2406" y="2516"/>
                  </a:lnTo>
                  <a:lnTo>
                    <a:pt x="2410" y="2522"/>
                  </a:lnTo>
                  <a:lnTo>
                    <a:pt x="2414" y="2528"/>
                  </a:lnTo>
                  <a:lnTo>
                    <a:pt x="2422" y="2540"/>
                  </a:lnTo>
                  <a:lnTo>
                    <a:pt x="2430" y="2548"/>
                  </a:lnTo>
                  <a:lnTo>
                    <a:pt x="2442" y="2558"/>
                  </a:lnTo>
                  <a:lnTo>
                    <a:pt x="2458" y="2570"/>
                  </a:lnTo>
                  <a:lnTo>
                    <a:pt x="2474" y="2576"/>
                  </a:lnTo>
                  <a:lnTo>
                    <a:pt x="2488" y="2580"/>
                  </a:lnTo>
                  <a:lnTo>
                    <a:pt x="2494" y="2582"/>
                  </a:lnTo>
                  <a:lnTo>
                    <a:pt x="2502" y="2580"/>
                  </a:lnTo>
                  <a:lnTo>
                    <a:pt x="2508" y="2578"/>
                  </a:lnTo>
                  <a:lnTo>
                    <a:pt x="2514" y="2576"/>
                  </a:lnTo>
                  <a:lnTo>
                    <a:pt x="2520" y="2580"/>
                  </a:lnTo>
                  <a:lnTo>
                    <a:pt x="2528" y="2588"/>
                  </a:lnTo>
                  <a:lnTo>
                    <a:pt x="2534" y="2592"/>
                  </a:lnTo>
                  <a:lnTo>
                    <a:pt x="2538" y="2594"/>
                  </a:lnTo>
                  <a:lnTo>
                    <a:pt x="2544" y="2592"/>
                  </a:lnTo>
                  <a:lnTo>
                    <a:pt x="2550" y="2588"/>
                  </a:lnTo>
                  <a:lnTo>
                    <a:pt x="2558" y="2580"/>
                  </a:lnTo>
                  <a:lnTo>
                    <a:pt x="2570" y="2570"/>
                  </a:lnTo>
                  <a:lnTo>
                    <a:pt x="2576" y="2568"/>
                  </a:lnTo>
                  <a:lnTo>
                    <a:pt x="2588" y="2564"/>
                  </a:lnTo>
                  <a:lnTo>
                    <a:pt x="2592" y="2562"/>
                  </a:lnTo>
                  <a:lnTo>
                    <a:pt x="2592" y="2556"/>
                  </a:lnTo>
                  <a:lnTo>
                    <a:pt x="2592" y="2552"/>
                  </a:lnTo>
                  <a:lnTo>
                    <a:pt x="2594" y="2544"/>
                  </a:lnTo>
                  <a:lnTo>
                    <a:pt x="2596" y="2538"/>
                  </a:lnTo>
                  <a:lnTo>
                    <a:pt x="2608" y="2512"/>
                  </a:lnTo>
                  <a:lnTo>
                    <a:pt x="2616" y="2498"/>
                  </a:lnTo>
                  <a:lnTo>
                    <a:pt x="2638" y="2434"/>
                  </a:lnTo>
                  <a:lnTo>
                    <a:pt x="2642" y="2418"/>
                  </a:lnTo>
                  <a:lnTo>
                    <a:pt x="2642" y="2396"/>
                  </a:lnTo>
                  <a:lnTo>
                    <a:pt x="2642" y="2380"/>
                  </a:lnTo>
                  <a:lnTo>
                    <a:pt x="2642" y="2366"/>
                  </a:lnTo>
                  <a:lnTo>
                    <a:pt x="2642" y="2350"/>
                  </a:lnTo>
                  <a:lnTo>
                    <a:pt x="2642" y="2346"/>
                  </a:lnTo>
                  <a:lnTo>
                    <a:pt x="2640" y="2340"/>
                  </a:lnTo>
                  <a:lnTo>
                    <a:pt x="2636" y="2334"/>
                  </a:lnTo>
                  <a:lnTo>
                    <a:pt x="2620" y="2324"/>
                  </a:lnTo>
                  <a:lnTo>
                    <a:pt x="2614" y="2318"/>
                  </a:lnTo>
                  <a:lnTo>
                    <a:pt x="2610" y="2312"/>
                  </a:lnTo>
                  <a:lnTo>
                    <a:pt x="2606" y="2298"/>
                  </a:lnTo>
                  <a:close/>
                  <a:moveTo>
                    <a:pt x="2522" y="2632"/>
                  </a:moveTo>
                  <a:lnTo>
                    <a:pt x="2522" y="2632"/>
                  </a:lnTo>
                  <a:lnTo>
                    <a:pt x="2520" y="2634"/>
                  </a:lnTo>
                  <a:lnTo>
                    <a:pt x="2518" y="2634"/>
                  </a:lnTo>
                  <a:lnTo>
                    <a:pt x="2516" y="2638"/>
                  </a:lnTo>
                  <a:lnTo>
                    <a:pt x="2518" y="2640"/>
                  </a:lnTo>
                  <a:lnTo>
                    <a:pt x="2522" y="2654"/>
                  </a:lnTo>
                  <a:lnTo>
                    <a:pt x="2524" y="2670"/>
                  </a:lnTo>
                  <a:lnTo>
                    <a:pt x="2524" y="2674"/>
                  </a:lnTo>
                  <a:lnTo>
                    <a:pt x="2526" y="2680"/>
                  </a:lnTo>
                  <a:lnTo>
                    <a:pt x="2532" y="2684"/>
                  </a:lnTo>
                  <a:lnTo>
                    <a:pt x="2538" y="2688"/>
                  </a:lnTo>
                  <a:lnTo>
                    <a:pt x="2540" y="2688"/>
                  </a:lnTo>
                  <a:lnTo>
                    <a:pt x="2544" y="2688"/>
                  </a:lnTo>
                  <a:lnTo>
                    <a:pt x="2546" y="2686"/>
                  </a:lnTo>
                  <a:lnTo>
                    <a:pt x="2548" y="2684"/>
                  </a:lnTo>
                  <a:lnTo>
                    <a:pt x="2550" y="2678"/>
                  </a:lnTo>
                  <a:lnTo>
                    <a:pt x="2556" y="2664"/>
                  </a:lnTo>
                  <a:lnTo>
                    <a:pt x="2562" y="2650"/>
                  </a:lnTo>
                  <a:lnTo>
                    <a:pt x="2564" y="2634"/>
                  </a:lnTo>
                  <a:lnTo>
                    <a:pt x="2564" y="2632"/>
                  </a:lnTo>
                  <a:lnTo>
                    <a:pt x="2564" y="2628"/>
                  </a:lnTo>
                  <a:lnTo>
                    <a:pt x="2562" y="2626"/>
                  </a:lnTo>
                  <a:lnTo>
                    <a:pt x="2560" y="2626"/>
                  </a:lnTo>
                  <a:lnTo>
                    <a:pt x="2556" y="2626"/>
                  </a:lnTo>
                  <a:lnTo>
                    <a:pt x="2552" y="2630"/>
                  </a:lnTo>
                  <a:lnTo>
                    <a:pt x="2544" y="2632"/>
                  </a:lnTo>
                  <a:lnTo>
                    <a:pt x="2536" y="2632"/>
                  </a:lnTo>
                  <a:lnTo>
                    <a:pt x="2522" y="2632"/>
                  </a:lnTo>
                  <a:close/>
                  <a:moveTo>
                    <a:pt x="2478" y="958"/>
                  </a:moveTo>
                  <a:lnTo>
                    <a:pt x="2478" y="958"/>
                  </a:lnTo>
                  <a:lnTo>
                    <a:pt x="2476" y="954"/>
                  </a:lnTo>
                  <a:lnTo>
                    <a:pt x="2476" y="958"/>
                  </a:lnTo>
                  <a:lnTo>
                    <a:pt x="2476" y="962"/>
                  </a:lnTo>
                  <a:lnTo>
                    <a:pt x="2474" y="976"/>
                  </a:lnTo>
                  <a:lnTo>
                    <a:pt x="2468" y="992"/>
                  </a:lnTo>
                  <a:lnTo>
                    <a:pt x="2468" y="998"/>
                  </a:lnTo>
                  <a:lnTo>
                    <a:pt x="2470" y="1006"/>
                  </a:lnTo>
                  <a:lnTo>
                    <a:pt x="2472" y="1012"/>
                  </a:lnTo>
                  <a:lnTo>
                    <a:pt x="2474" y="1018"/>
                  </a:lnTo>
                  <a:lnTo>
                    <a:pt x="2476" y="1026"/>
                  </a:lnTo>
                  <a:lnTo>
                    <a:pt x="2476" y="1088"/>
                  </a:lnTo>
                  <a:lnTo>
                    <a:pt x="2476" y="1104"/>
                  </a:lnTo>
                  <a:lnTo>
                    <a:pt x="2476" y="1118"/>
                  </a:lnTo>
                  <a:lnTo>
                    <a:pt x="2478" y="1124"/>
                  </a:lnTo>
                  <a:lnTo>
                    <a:pt x="2484" y="1128"/>
                  </a:lnTo>
                  <a:lnTo>
                    <a:pt x="2498" y="1134"/>
                  </a:lnTo>
                  <a:lnTo>
                    <a:pt x="2502" y="1134"/>
                  </a:lnTo>
                  <a:lnTo>
                    <a:pt x="2500" y="1130"/>
                  </a:lnTo>
                  <a:lnTo>
                    <a:pt x="2490" y="1114"/>
                  </a:lnTo>
                  <a:lnTo>
                    <a:pt x="2486" y="1106"/>
                  </a:lnTo>
                  <a:lnTo>
                    <a:pt x="2486" y="1098"/>
                  </a:lnTo>
                  <a:lnTo>
                    <a:pt x="2486" y="1094"/>
                  </a:lnTo>
                  <a:lnTo>
                    <a:pt x="2486" y="1088"/>
                  </a:lnTo>
                  <a:lnTo>
                    <a:pt x="2488" y="1080"/>
                  </a:lnTo>
                  <a:lnTo>
                    <a:pt x="2492" y="1074"/>
                  </a:lnTo>
                  <a:lnTo>
                    <a:pt x="2496" y="1070"/>
                  </a:lnTo>
                  <a:lnTo>
                    <a:pt x="2498" y="1070"/>
                  </a:lnTo>
                  <a:lnTo>
                    <a:pt x="2500" y="1072"/>
                  </a:lnTo>
                  <a:lnTo>
                    <a:pt x="2502" y="1074"/>
                  </a:lnTo>
                  <a:lnTo>
                    <a:pt x="2502" y="1070"/>
                  </a:lnTo>
                  <a:lnTo>
                    <a:pt x="2488" y="1006"/>
                  </a:lnTo>
                  <a:lnTo>
                    <a:pt x="2486" y="990"/>
                  </a:lnTo>
                  <a:lnTo>
                    <a:pt x="2486" y="988"/>
                  </a:lnTo>
                  <a:lnTo>
                    <a:pt x="2482" y="972"/>
                  </a:lnTo>
                  <a:lnTo>
                    <a:pt x="2478" y="958"/>
                  </a:lnTo>
                  <a:close/>
                  <a:moveTo>
                    <a:pt x="2460" y="1170"/>
                  </a:moveTo>
                  <a:lnTo>
                    <a:pt x="2460" y="1170"/>
                  </a:lnTo>
                  <a:lnTo>
                    <a:pt x="2458" y="1176"/>
                  </a:lnTo>
                  <a:lnTo>
                    <a:pt x="2456" y="1182"/>
                  </a:lnTo>
                  <a:lnTo>
                    <a:pt x="2456" y="1196"/>
                  </a:lnTo>
                  <a:lnTo>
                    <a:pt x="2454" y="1204"/>
                  </a:lnTo>
                  <a:lnTo>
                    <a:pt x="2452" y="1212"/>
                  </a:lnTo>
                  <a:lnTo>
                    <a:pt x="2450" y="1216"/>
                  </a:lnTo>
                  <a:lnTo>
                    <a:pt x="2446" y="1224"/>
                  </a:lnTo>
                  <a:lnTo>
                    <a:pt x="2446" y="1232"/>
                  </a:lnTo>
                  <a:lnTo>
                    <a:pt x="2446" y="1236"/>
                  </a:lnTo>
                  <a:lnTo>
                    <a:pt x="2448" y="1238"/>
                  </a:lnTo>
                  <a:lnTo>
                    <a:pt x="2450" y="1236"/>
                  </a:lnTo>
                  <a:lnTo>
                    <a:pt x="2460" y="1220"/>
                  </a:lnTo>
                  <a:lnTo>
                    <a:pt x="2464" y="1218"/>
                  </a:lnTo>
                  <a:lnTo>
                    <a:pt x="2466" y="1218"/>
                  </a:lnTo>
                  <a:lnTo>
                    <a:pt x="2468" y="1218"/>
                  </a:lnTo>
                  <a:lnTo>
                    <a:pt x="2472" y="1220"/>
                  </a:lnTo>
                  <a:lnTo>
                    <a:pt x="2480" y="1228"/>
                  </a:lnTo>
                  <a:lnTo>
                    <a:pt x="2482" y="1230"/>
                  </a:lnTo>
                  <a:lnTo>
                    <a:pt x="2484" y="1230"/>
                  </a:lnTo>
                  <a:lnTo>
                    <a:pt x="2486" y="1228"/>
                  </a:lnTo>
                  <a:lnTo>
                    <a:pt x="2488" y="1226"/>
                  </a:lnTo>
                  <a:lnTo>
                    <a:pt x="2492" y="1220"/>
                  </a:lnTo>
                  <a:lnTo>
                    <a:pt x="2496" y="1214"/>
                  </a:lnTo>
                  <a:lnTo>
                    <a:pt x="2502" y="1210"/>
                  </a:lnTo>
                  <a:lnTo>
                    <a:pt x="2508" y="1208"/>
                  </a:lnTo>
                  <a:lnTo>
                    <a:pt x="2520" y="1198"/>
                  </a:lnTo>
                  <a:lnTo>
                    <a:pt x="2528" y="1190"/>
                  </a:lnTo>
                  <a:lnTo>
                    <a:pt x="2530" y="1188"/>
                  </a:lnTo>
                  <a:lnTo>
                    <a:pt x="2530" y="1186"/>
                  </a:lnTo>
                  <a:lnTo>
                    <a:pt x="2528" y="1184"/>
                  </a:lnTo>
                  <a:lnTo>
                    <a:pt x="2526" y="1184"/>
                  </a:lnTo>
                  <a:lnTo>
                    <a:pt x="2522" y="1184"/>
                  </a:lnTo>
                  <a:lnTo>
                    <a:pt x="2506" y="1182"/>
                  </a:lnTo>
                  <a:lnTo>
                    <a:pt x="2492" y="1178"/>
                  </a:lnTo>
                  <a:lnTo>
                    <a:pt x="2478" y="1170"/>
                  </a:lnTo>
                  <a:lnTo>
                    <a:pt x="2472" y="1168"/>
                  </a:lnTo>
                  <a:lnTo>
                    <a:pt x="2466" y="1168"/>
                  </a:lnTo>
                  <a:lnTo>
                    <a:pt x="2460" y="1170"/>
                  </a:lnTo>
                  <a:close/>
                  <a:moveTo>
                    <a:pt x="2438" y="1284"/>
                  </a:moveTo>
                  <a:lnTo>
                    <a:pt x="2438" y="1284"/>
                  </a:lnTo>
                  <a:lnTo>
                    <a:pt x="2432" y="1300"/>
                  </a:lnTo>
                  <a:lnTo>
                    <a:pt x="2430" y="1304"/>
                  </a:lnTo>
                  <a:lnTo>
                    <a:pt x="2426" y="1310"/>
                  </a:lnTo>
                  <a:lnTo>
                    <a:pt x="2420" y="1316"/>
                  </a:lnTo>
                  <a:lnTo>
                    <a:pt x="2414" y="1318"/>
                  </a:lnTo>
                  <a:lnTo>
                    <a:pt x="2400" y="1326"/>
                  </a:lnTo>
                  <a:lnTo>
                    <a:pt x="2374" y="1346"/>
                  </a:lnTo>
                  <a:lnTo>
                    <a:pt x="2368" y="1350"/>
                  </a:lnTo>
                  <a:lnTo>
                    <a:pt x="2360" y="1350"/>
                  </a:lnTo>
                  <a:lnTo>
                    <a:pt x="2356" y="1350"/>
                  </a:lnTo>
                  <a:lnTo>
                    <a:pt x="2340" y="1354"/>
                  </a:lnTo>
                  <a:lnTo>
                    <a:pt x="2326" y="1358"/>
                  </a:lnTo>
                  <a:lnTo>
                    <a:pt x="2320" y="1362"/>
                  </a:lnTo>
                  <a:lnTo>
                    <a:pt x="2318" y="1366"/>
                  </a:lnTo>
                  <a:lnTo>
                    <a:pt x="2322" y="1378"/>
                  </a:lnTo>
                  <a:lnTo>
                    <a:pt x="2326" y="1392"/>
                  </a:lnTo>
                  <a:lnTo>
                    <a:pt x="2328" y="1394"/>
                  </a:lnTo>
                  <a:lnTo>
                    <a:pt x="2330" y="1396"/>
                  </a:lnTo>
                  <a:lnTo>
                    <a:pt x="2332" y="1396"/>
                  </a:lnTo>
                  <a:lnTo>
                    <a:pt x="2334" y="1394"/>
                  </a:lnTo>
                  <a:lnTo>
                    <a:pt x="2342" y="1386"/>
                  </a:lnTo>
                  <a:lnTo>
                    <a:pt x="2348" y="1382"/>
                  </a:lnTo>
                  <a:lnTo>
                    <a:pt x="2354" y="1380"/>
                  </a:lnTo>
                  <a:lnTo>
                    <a:pt x="2358" y="1378"/>
                  </a:lnTo>
                  <a:lnTo>
                    <a:pt x="2362" y="1376"/>
                  </a:lnTo>
                  <a:lnTo>
                    <a:pt x="2366" y="1374"/>
                  </a:lnTo>
                  <a:lnTo>
                    <a:pt x="2368" y="1376"/>
                  </a:lnTo>
                  <a:lnTo>
                    <a:pt x="2370" y="1376"/>
                  </a:lnTo>
                  <a:lnTo>
                    <a:pt x="2374" y="1374"/>
                  </a:lnTo>
                  <a:lnTo>
                    <a:pt x="2382" y="1366"/>
                  </a:lnTo>
                  <a:lnTo>
                    <a:pt x="2388" y="1362"/>
                  </a:lnTo>
                  <a:lnTo>
                    <a:pt x="2392" y="1360"/>
                  </a:lnTo>
                  <a:lnTo>
                    <a:pt x="2404" y="1360"/>
                  </a:lnTo>
                  <a:lnTo>
                    <a:pt x="2408" y="1360"/>
                  </a:lnTo>
                  <a:lnTo>
                    <a:pt x="2422" y="1360"/>
                  </a:lnTo>
                  <a:lnTo>
                    <a:pt x="2432" y="1360"/>
                  </a:lnTo>
                  <a:lnTo>
                    <a:pt x="2436" y="1360"/>
                  </a:lnTo>
                  <a:lnTo>
                    <a:pt x="2440" y="1356"/>
                  </a:lnTo>
                  <a:lnTo>
                    <a:pt x="2444" y="1350"/>
                  </a:lnTo>
                  <a:lnTo>
                    <a:pt x="2446" y="1342"/>
                  </a:lnTo>
                  <a:lnTo>
                    <a:pt x="2446" y="1330"/>
                  </a:lnTo>
                  <a:lnTo>
                    <a:pt x="2446" y="1322"/>
                  </a:lnTo>
                  <a:lnTo>
                    <a:pt x="2450" y="1314"/>
                  </a:lnTo>
                  <a:lnTo>
                    <a:pt x="2452" y="1308"/>
                  </a:lnTo>
                  <a:lnTo>
                    <a:pt x="2458" y="1294"/>
                  </a:lnTo>
                  <a:lnTo>
                    <a:pt x="2462" y="1280"/>
                  </a:lnTo>
                  <a:lnTo>
                    <a:pt x="2464" y="1272"/>
                  </a:lnTo>
                  <a:lnTo>
                    <a:pt x="2460" y="1266"/>
                  </a:lnTo>
                  <a:lnTo>
                    <a:pt x="2450" y="1250"/>
                  </a:lnTo>
                  <a:lnTo>
                    <a:pt x="2448" y="1246"/>
                  </a:lnTo>
                  <a:lnTo>
                    <a:pt x="2446" y="1246"/>
                  </a:lnTo>
                  <a:lnTo>
                    <a:pt x="2446" y="1248"/>
                  </a:lnTo>
                  <a:lnTo>
                    <a:pt x="2444" y="1260"/>
                  </a:lnTo>
                  <a:lnTo>
                    <a:pt x="2438" y="1284"/>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0245" name="Freeform 7"/>
            <p:cNvSpPr>
              <a:spLocks noEditPoints="1"/>
            </p:cNvSpPr>
            <p:nvPr/>
          </p:nvSpPr>
          <p:spPr bwMode="auto">
            <a:xfrm>
              <a:off x="0" y="753"/>
              <a:ext cx="2211" cy="3018"/>
            </a:xfrm>
            <a:custGeom>
              <a:avLst/>
              <a:gdLst>
                <a:gd name="T0" fmla="*/ 1757 w 2211"/>
                <a:gd name="T1" fmla="*/ 431 h 3018"/>
                <a:gd name="T2" fmla="*/ 1780 w 2211"/>
                <a:gd name="T3" fmla="*/ 502 h 3018"/>
                <a:gd name="T4" fmla="*/ 1792 w 2211"/>
                <a:gd name="T5" fmla="*/ 608 h 3018"/>
                <a:gd name="T6" fmla="*/ 1954 w 2211"/>
                <a:gd name="T7" fmla="*/ 711 h 3018"/>
                <a:gd name="T8" fmla="*/ 2035 w 2211"/>
                <a:gd name="T9" fmla="*/ 540 h 3018"/>
                <a:gd name="T10" fmla="*/ 2203 w 2211"/>
                <a:gd name="T11" fmla="*/ 366 h 3018"/>
                <a:gd name="T12" fmla="*/ 2188 w 2211"/>
                <a:gd name="T13" fmla="*/ 325 h 3018"/>
                <a:gd name="T14" fmla="*/ 2153 w 2211"/>
                <a:gd name="T15" fmla="*/ 272 h 3018"/>
                <a:gd name="T16" fmla="*/ 2085 w 2211"/>
                <a:gd name="T17" fmla="*/ 202 h 3018"/>
                <a:gd name="T18" fmla="*/ 2002 w 2211"/>
                <a:gd name="T19" fmla="*/ 129 h 3018"/>
                <a:gd name="T20" fmla="*/ 1934 w 2211"/>
                <a:gd name="T21" fmla="*/ 108 h 3018"/>
                <a:gd name="T22" fmla="*/ 1737 w 2211"/>
                <a:gd name="T23" fmla="*/ 207 h 3018"/>
                <a:gd name="T24" fmla="*/ 1288 w 2211"/>
                <a:gd name="T25" fmla="*/ 159 h 3018"/>
                <a:gd name="T26" fmla="*/ 1303 w 2211"/>
                <a:gd name="T27" fmla="*/ 194 h 3018"/>
                <a:gd name="T28" fmla="*/ 1356 w 2211"/>
                <a:gd name="T29" fmla="*/ 207 h 3018"/>
                <a:gd name="T30" fmla="*/ 1364 w 2211"/>
                <a:gd name="T31" fmla="*/ 156 h 3018"/>
                <a:gd name="T32" fmla="*/ 1374 w 2211"/>
                <a:gd name="T33" fmla="*/ 66 h 3018"/>
                <a:gd name="T34" fmla="*/ 1361 w 2211"/>
                <a:gd name="T35" fmla="*/ 3 h 3018"/>
                <a:gd name="T36" fmla="*/ 1319 w 2211"/>
                <a:gd name="T37" fmla="*/ 13 h 3018"/>
                <a:gd name="T38" fmla="*/ 1266 w 2211"/>
                <a:gd name="T39" fmla="*/ 58 h 3018"/>
                <a:gd name="T40" fmla="*/ 1248 w 2211"/>
                <a:gd name="T41" fmla="*/ 81 h 3018"/>
                <a:gd name="T42" fmla="*/ 1253 w 2211"/>
                <a:gd name="T43" fmla="*/ 144 h 3018"/>
                <a:gd name="T44" fmla="*/ 1268 w 2211"/>
                <a:gd name="T45" fmla="*/ 227 h 3018"/>
                <a:gd name="T46" fmla="*/ 1379 w 2211"/>
                <a:gd name="T47" fmla="*/ 252 h 3018"/>
                <a:gd name="T48" fmla="*/ 1271 w 2211"/>
                <a:gd name="T49" fmla="*/ 217 h 3018"/>
                <a:gd name="T50" fmla="*/ 1172 w 2211"/>
                <a:gd name="T51" fmla="*/ 1629 h 3018"/>
                <a:gd name="T52" fmla="*/ 1677 w 2211"/>
                <a:gd name="T53" fmla="*/ 1170 h 3018"/>
                <a:gd name="T54" fmla="*/ 1500 w 2211"/>
                <a:gd name="T55" fmla="*/ 703 h 3018"/>
                <a:gd name="T56" fmla="*/ 1437 w 2211"/>
                <a:gd name="T57" fmla="*/ 376 h 3018"/>
                <a:gd name="T58" fmla="*/ 1520 w 2211"/>
                <a:gd name="T59" fmla="*/ 509 h 3018"/>
                <a:gd name="T60" fmla="*/ 1606 w 2211"/>
                <a:gd name="T61" fmla="*/ 540 h 3018"/>
                <a:gd name="T62" fmla="*/ 1674 w 2211"/>
                <a:gd name="T63" fmla="*/ 527 h 3018"/>
                <a:gd name="T64" fmla="*/ 1694 w 2211"/>
                <a:gd name="T65" fmla="*/ 502 h 3018"/>
                <a:gd name="T66" fmla="*/ 1659 w 2211"/>
                <a:gd name="T67" fmla="*/ 446 h 3018"/>
                <a:gd name="T68" fmla="*/ 1634 w 2211"/>
                <a:gd name="T69" fmla="*/ 388 h 3018"/>
                <a:gd name="T70" fmla="*/ 1553 w 2211"/>
                <a:gd name="T71" fmla="*/ 345 h 3018"/>
                <a:gd name="T72" fmla="*/ 1442 w 2211"/>
                <a:gd name="T73" fmla="*/ 300 h 3018"/>
                <a:gd name="T74" fmla="*/ 1341 w 2211"/>
                <a:gd name="T75" fmla="*/ 330 h 3018"/>
                <a:gd name="T76" fmla="*/ 1319 w 2211"/>
                <a:gd name="T77" fmla="*/ 386 h 3018"/>
                <a:gd name="T78" fmla="*/ 1182 w 2211"/>
                <a:gd name="T79" fmla="*/ 424 h 3018"/>
                <a:gd name="T80" fmla="*/ 1172 w 2211"/>
                <a:gd name="T81" fmla="*/ 308 h 3018"/>
                <a:gd name="T82" fmla="*/ 1112 w 2211"/>
                <a:gd name="T83" fmla="*/ 315 h 3018"/>
                <a:gd name="T84" fmla="*/ 1024 w 2211"/>
                <a:gd name="T85" fmla="*/ 333 h 3018"/>
                <a:gd name="T86" fmla="*/ 1034 w 2211"/>
                <a:gd name="T87" fmla="*/ 383 h 3018"/>
                <a:gd name="T88" fmla="*/ 1129 w 2211"/>
                <a:gd name="T89" fmla="*/ 429 h 3018"/>
                <a:gd name="T90" fmla="*/ 451 w 2211"/>
                <a:gd name="T91" fmla="*/ 378 h 3018"/>
                <a:gd name="T92" fmla="*/ 156 w 2211"/>
                <a:gd name="T93" fmla="*/ 840 h 3018"/>
                <a:gd name="T94" fmla="*/ 837 w 2211"/>
                <a:gd name="T95" fmla="*/ 1417 h 3018"/>
                <a:gd name="T96" fmla="*/ 1256 w 2211"/>
                <a:gd name="T97" fmla="*/ 1755 h 3018"/>
                <a:gd name="T98" fmla="*/ 1629 w 2211"/>
                <a:gd name="T99" fmla="*/ 1679 h 3018"/>
                <a:gd name="T100" fmla="*/ 1553 w 2211"/>
                <a:gd name="T101" fmla="*/ 1654 h 3018"/>
                <a:gd name="T102" fmla="*/ 1414 w 2211"/>
                <a:gd name="T103" fmla="*/ 1851 h 3018"/>
                <a:gd name="T104" fmla="*/ 1891 w 2211"/>
                <a:gd name="T105" fmla="*/ 1893 h 3018"/>
                <a:gd name="T106" fmla="*/ 1591 w 2211"/>
                <a:gd name="T107" fmla="*/ 1795 h 3018"/>
                <a:gd name="T108" fmla="*/ 1435 w 2211"/>
                <a:gd name="T109" fmla="*/ 2057 h 3018"/>
                <a:gd name="T110" fmla="*/ 1629 w 2211"/>
                <a:gd name="T111" fmla="*/ 2524 h 3018"/>
                <a:gd name="T112" fmla="*/ 1740 w 2211"/>
                <a:gd name="T113" fmla="*/ 2741 h 3018"/>
                <a:gd name="T114" fmla="*/ 2110 w 2211"/>
                <a:gd name="T115" fmla="*/ 2342 h 3018"/>
                <a:gd name="T116" fmla="*/ 1472 w 2211"/>
                <a:gd name="T117" fmla="*/ 562 h 3018"/>
                <a:gd name="T118" fmla="*/ 1394 w 2211"/>
                <a:gd name="T119" fmla="*/ 577 h 3018"/>
                <a:gd name="T120" fmla="*/ 978 w 2211"/>
                <a:gd name="T121" fmla="*/ 338 h 3018"/>
                <a:gd name="T122" fmla="*/ 1039 w 2211"/>
                <a:gd name="T123" fmla="*/ 250 h 30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211" h="3018">
                  <a:moveTo>
                    <a:pt x="1636" y="295"/>
                  </a:moveTo>
                  <a:lnTo>
                    <a:pt x="1639" y="300"/>
                  </a:lnTo>
                  <a:lnTo>
                    <a:pt x="1639" y="303"/>
                  </a:lnTo>
                  <a:lnTo>
                    <a:pt x="1639" y="308"/>
                  </a:lnTo>
                  <a:lnTo>
                    <a:pt x="1636" y="310"/>
                  </a:lnTo>
                  <a:lnTo>
                    <a:pt x="1636" y="313"/>
                  </a:lnTo>
                  <a:lnTo>
                    <a:pt x="1634" y="315"/>
                  </a:lnTo>
                  <a:lnTo>
                    <a:pt x="1636" y="320"/>
                  </a:lnTo>
                  <a:lnTo>
                    <a:pt x="1636" y="323"/>
                  </a:lnTo>
                  <a:lnTo>
                    <a:pt x="1641" y="328"/>
                  </a:lnTo>
                  <a:lnTo>
                    <a:pt x="1644" y="333"/>
                  </a:lnTo>
                  <a:lnTo>
                    <a:pt x="1649" y="335"/>
                  </a:lnTo>
                  <a:lnTo>
                    <a:pt x="1651" y="338"/>
                  </a:lnTo>
                  <a:lnTo>
                    <a:pt x="1656" y="340"/>
                  </a:lnTo>
                  <a:lnTo>
                    <a:pt x="1664" y="340"/>
                  </a:lnTo>
                  <a:lnTo>
                    <a:pt x="1669" y="340"/>
                  </a:lnTo>
                  <a:lnTo>
                    <a:pt x="1679" y="340"/>
                  </a:lnTo>
                  <a:lnTo>
                    <a:pt x="1687" y="338"/>
                  </a:lnTo>
                  <a:lnTo>
                    <a:pt x="1697" y="338"/>
                  </a:lnTo>
                  <a:lnTo>
                    <a:pt x="1704" y="338"/>
                  </a:lnTo>
                  <a:lnTo>
                    <a:pt x="1712" y="338"/>
                  </a:lnTo>
                  <a:lnTo>
                    <a:pt x="1719" y="340"/>
                  </a:lnTo>
                  <a:lnTo>
                    <a:pt x="1724" y="343"/>
                  </a:lnTo>
                  <a:lnTo>
                    <a:pt x="1729" y="348"/>
                  </a:lnTo>
                  <a:lnTo>
                    <a:pt x="1732" y="356"/>
                  </a:lnTo>
                  <a:lnTo>
                    <a:pt x="1737" y="363"/>
                  </a:lnTo>
                  <a:lnTo>
                    <a:pt x="1740" y="368"/>
                  </a:lnTo>
                  <a:lnTo>
                    <a:pt x="1745" y="373"/>
                  </a:lnTo>
                  <a:lnTo>
                    <a:pt x="1750" y="378"/>
                  </a:lnTo>
                  <a:lnTo>
                    <a:pt x="1752" y="386"/>
                  </a:lnTo>
                  <a:lnTo>
                    <a:pt x="1757" y="391"/>
                  </a:lnTo>
                  <a:lnTo>
                    <a:pt x="1760" y="401"/>
                  </a:lnTo>
                  <a:lnTo>
                    <a:pt x="1760" y="411"/>
                  </a:lnTo>
                  <a:lnTo>
                    <a:pt x="1760" y="424"/>
                  </a:lnTo>
                  <a:lnTo>
                    <a:pt x="1757" y="431"/>
                  </a:lnTo>
                  <a:lnTo>
                    <a:pt x="1757" y="439"/>
                  </a:lnTo>
                  <a:lnTo>
                    <a:pt x="1757" y="444"/>
                  </a:lnTo>
                  <a:lnTo>
                    <a:pt x="1757" y="449"/>
                  </a:lnTo>
                  <a:lnTo>
                    <a:pt x="1757" y="451"/>
                  </a:lnTo>
                  <a:lnTo>
                    <a:pt x="1760" y="451"/>
                  </a:lnTo>
                  <a:lnTo>
                    <a:pt x="1765" y="454"/>
                  </a:lnTo>
                  <a:lnTo>
                    <a:pt x="1770" y="454"/>
                  </a:lnTo>
                  <a:lnTo>
                    <a:pt x="1775" y="454"/>
                  </a:lnTo>
                  <a:lnTo>
                    <a:pt x="1777" y="456"/>
                  </a:lnTo>
                  <a:lnTo>
                    <a:pt x="1782" y="456"/>
                  </a:lnTo>
                  <a:lnTo>
                    <a:pt x="1782" y="459"/>
                  </a:lnTo>
                  <a:lnTo>
                    <a:pt x="1782" y="461"/>
                  </a:lnTo>
                  <a:lnTo>
                    <a:pt x="1780" y="464"/>
                  </a:lnTo>
                  <a:lnTo>
                    <a:pt x="1772" y="464"/>
                  </a:lnTo>
                  <a:lnTo>
                    <a:pt x="1767" y="466"/>
                  </a:lnTo>
                  <a:lnTo>
                    <a:pt x="1765" y="469"/>
                  </a:lnTo>
                  <a:lnTo>
                    <a:pt x="1765" y="471"/>
                  </a:lnTo>
                  <a:lnTo>
                    <a:pt x="1767" y="471"/>
                  </a:lnTo>
                  <a:lnTo>
                    <a:pt x="1770" y="474"/>
                  </a:lnTo>
                  <a:lnTo>
                    <a:pt x="1775" y="477"/>
                  </a:lnTo>
                  <a:lnTo>
                    <a:pt x="1777" y="477"/>
                  </a:lnTo>
                  <a:lnTo>
                    <a:pt x="1775" y="477"/>
                  </a:lnTo>
                  <a:lnTo>
                    <a:pt x="1770" y="477"/>
                  </a:lnTo>
                  <a:lnTo>
                    <a:pt x="1765" y="479"/>
                  </a:lnTo>
                  <a:lnTo>
                    <a:pt x="1762" y="482"/>
                  </a:lnTo>
                  <a:lnTo>
                    <a:pt x="1757" y="484"/>
                  </a:lnTo>
                  <a:lnTo>
                    <a:pt x="1755" y="487"/>
                  </a:lnTo>
                  <a:lnTo>
                    <a:pt x="1755" y="489"/>
                  </a:lnTo>
                  <a:lnTo>
                    <a:pt x="1757" y="494"/>
                  </a:lnTo>
                  <a:lnTo>
                    <a:pt x="1762" y="497"/>
                  </a:lnTo>
                  <a:lnTo>
                    <a:pt x="1767" y="499"/>
                  </a:lnTo>
                  <a:lnTo>
                    <a:pt x="1772" y="502"/>
                  </a:lnTo>
                  <a:lnTo>
                    <a:pt x="1780" y="502"/>
                  </a:lnTo>
                  <a:lnTo>
                    <a:pt x="1785" y="502"/>
                  </a:lnTo>
                  <a:lnTo>
                    <a:pt x="1790" y="499"/>
                  </a:lnTo>
                  <a:lnTo>
                    <a:pt x="1792" y="497"/>
                  </a:lnTo>
                  <a:lnTo>
                    <a:pt x="1795" y="494"/>
                  </a:lnTo>
                  <a:lnTo>
                    <a:pt x="1798" y="492"/>
                  </a:lnTo>
                  <a:lnTo>
                    <a:pt x="1800" y="489"/>
                  </a:lnTo>
                  <a:lnTo>
                    <a:pt x="1800" y="487"/>
                  </a:lnTo>
                  <a:lnTo>
                    <a:pt x="1803" y="484"/>
                  </a:lnTo>
                  <a:lnTo>
                    <a:pt x="1805" y="484"/>
                  </a:lnTo>
                  <a:lnTo>
                    <a:pt x="1808" y="484"/>
                  </a:lnTo>
                  <a:lnTo>
                    <a:pt x="1810" y="482"/>
                  </a:lnTo>
                  <a:lnTo>
                    <a:pt x="1815" y="487"/>
                  </a:lnTo>
                  <a:lnTo>
                    <a:pt x="1815" y="494"/>
                  </a:lnTo>
                  <a:lnTo>
                    <a:pt x="1815" y="504"/>
                  </a:lnTo>
                  <a:lnTo>
                    <a:pt x="1813" y="512"/>
                  </a:lnTo>
                  <a:lnTo>
                    <a:pt x="1810" y="514"/>
                  </a:lnTo>
                  <a:lnTo>
                    <a:pt x="1805" y="514"/>
                  </a:lnTo>
                  <a:lnTo>
                    <a:pt x="1803" y="517"/>
                  </a:lnTo>
                  <a:lnTo>
                    <a:pt x="1798" y="519"/>
                  </a:lnTo>
                  <a:lnTo>
                    <a:pt x="1792" y="522"/>
                  </a:lnTo>
                  <a:lnTo>
                    <a:pt x="1787" y="527"/>
                  </a:lnTo>
                  <a:lnTo>
                    <a:pt x="1785" y="529"/>
                  </a:lnTo>
                  <a:lnTo>
                    <a:pt x="1780" y="532"/>
                  </a:lnTo>
                  <a:lnTo>
                    <a:pt x="1777" y="537"/>
                  </a:lnTo>
                  <a:lnTo>
                    <a:pt x="1777" y="545"/>
                  </a:lnTo>
                  <a:lnTo>
                    <a:pt x="1775" y="555"/>
                  </a:lnTo>
                  <a:lnTo>
                    <a:pt x="1772" y="565"/>
                  </a:lnTo>
                  <a:lnTo>
                    <a:pt x="1772" y="572"/>
                  </a:lnTo>
                  <a:lnTo>
                    <a:pt x="1772" y="582"/>
                  </a:lnTo>
                  <a:lnTo>
                    <a:pt x="1775" y="587"/>
                  </a:lnTo>
                  <a:lnTo>
                    <a:pt x="1775" y="593"/>
                  </a:lnTo>
                  <a:lnTo>
                    <a:pt x="1777" y="598"/>
                  </a:lnTo>
                  <a:lnTo>
                    <a:pt x="1782" y="600"/>
                  </a:lnTo>
                  <a:lnTo>
                    <a:pt x="1787" y="605"/>
                  </a:lnTo>
                  <a:lnTo>
                    <a:pt x="1792" y="608"/>
                  </a:lnTo>
                  <a:lnTo>
                    <a:pt x="1795" y="613"/>
                  </a:lnTo>
                  <a:lnTo>
                    <a:pt x="1800" y="618"/>
                  </a:lnTo>
                  <a:lnTo>
                    <a:pt x="1803" y="625"/>
                  </a:lnTo>
                  <a:lnTo>
                    <a:pt x="1803" y="630"/>
                  </a:lnTo>
                  <a:lnTo>
                    <a:pt x="1803" y="638"/>
                  </a:lnTo>
                  <a:lnTo>
                    <a:pt x="1805" y="643"/>
                  </a:lnTo>
                  <a:lnTo>
                    <a:pt x="1810" y="648"/>
                  </a:lnTo>
                  <a:lnTo>
                    <a:pt x="1815" y="653"/>
                  </a:lnTo>
                  <a:lnTo>
                    <a:pt x="1820" y="658"/>
                  </a:lnTo>
                  <a:lnTo>
                    <a:pt x="1825" y="661"/>
                  </a:lnTo>
                  <a:lnTo>
                    <a:pt x="1833" y="666"/>
                  </a:lnTo>
                  <a:lnTo>
                    <a:pt x="1838" y="671"/>
                  </a:lnTo>
                  <a:lnTo>
                    <a:pt x="1843" y="673"/>
                  </a:lnTo>
                  <a:lnTo>
                    <a:pt x="1848" y="678"/>
                  </a:lnTo>
                  <a:lnTo>
                    <a:pt x="1856" y="683"/>
                  </a:lnTo>
                  <a:lnTo>
                    <a:pt x="1863" y="691"/>
                  </a:lnTo>
                  <a:lnTo>
                    <a:pt x="1871" y="693"/>
                  </a:lnTo>
                  <a:lnTo>
                    <a:pt x="1881" y="698"/>
                  </a:lnTo>
                  <a:lnTo>
                    <a:pt x="1888" y="698"/>
                  </a:lnTo>
                  <a:lnTo>
                    <a:pt x="1896" y="698"/>
                  </a:lnTo>
                  <a:lnTo>
                    <a:pt x="1903" y="696"/>
                  </a:lnTo>
                  <a:lnTo>
                    <a:pt x="1908" y="696"/>
                  </a:lnTo>
                  <a:lnTo>
                    <a:pt x="1914" y="696"/>
                  </a:lnTo>
                  <a:lnTo>
                    <a:pt x="1919" y="696"/>
                  </a:lnTo>
                  <a:lnTo>
                    <a:pt x="1924" y="698"/>
                  </a:lnTo>
                  <a:lnTo>
                    <a:pt x="1926" y="701"/>
                  </a:lnTo>
                  <a:lnTo>
                    <a:pt x="1929" y="703"/>
                  </a:lnTo>
                  <a:lnTo>
                    <a:pt x="1931" y="706"/>
                  </a:lnTo>
                  <a:lnTo>
                    <a:pt x="1931" y="708"/>
                  </a:lnTo>
                  <a:lnTo>
                    <a:pt x="1934" y="708"/>
                  </a:lnTo>
                  <a:lnTo>
                    <a:pt x="1936" y="711"/>
                  </a:lnTo>
                  <a:lnTo>
                    <a:pt x="1939" y="711"/>
                  </a:lnTo>
                  <a:lnTo>
                    <a:pt x="1944" y="711"/>
                  </a:lnTo>
                  <a:lnTo>
                    <a:pt x="1949" y="711"/>
                  </a:lnTo>
                  <a:lnTo>
                    <a:pt x="1954" y="711"/>
                  </a:lnTo>
                  <a:lnTo>
                    <a:pt x="1956" y="711"/>
                  </a:lnTo>
                  <a:lnTo>
                    <a:pt x="1964" y="708"/>
                  </a:lnTo>
                  <a:lnTo>
                    <a:pt x="1966" y="708"/>
                  </a:lnTo>
                  <a:lnTo>
                    <a:pt x="1971" y="706"/>
                  </a:lnTo>
                  <a:lnTo>
                    <a:pt x="1977" y="703"/>
                  </a:lnTo>
                  <a:lnTo>
                    <a:pt x="1979" y="701"/>
                  </a:lnTo>
                  <a:lnTo>
                    <a:pt x="1982" y="698"/>
                  </a:lnTo>
                  <a:lnTo>
                    <a:pt x="1984" y="693"/>
                  </a:lnTo>
                  <a:lnTo>
                    <a:pt x="1984" y="691"/>
                  </a:lnTo>
                  <a:lnTo>
                    <a:pt x="1984" y="681"/>
                  </a:lnTo>
                  <a:lnTo>
                    <a:pt x="1984" y="673"/>
                  </a:lnTo>
                  <a:lnTo>
                    <a:pt x="1984" y="668"/>
                  </a:lnTo>
                  <a:lnTo>
                    <a:pt x="1984" y="666"/>
                  </a:lnTo>
                  <a:lnTo>
                    <a:pt x="1984" y="661"/>
                  </a:lnTo>
                  <a:lnTo>
                    <a:pt x="1987" y="658"/>
                  </a:lnTo>
                  <a:lnTo>
                    <a:pt x="1989" y="656"/>
                  </a:lnTo>
                  <a:lnTo>
                    <a:pt x="1992" y="653"/>
                  </a:lnTo>
                  <a:lnTo>
                    <a:pt x="1994" y="648"/>
                  </a:lnTo>
                  <a:lnTo>
                    <a:pt x="1992" y="640"/>
                  </a:lnTo>
                  <a:lnTo>
                    <a:pt x="1989" y="633"/>
                  </a:lnTo>
                  <a:lnTo>
                    <a:pt x="1989" y="628"/>
                  </a:lnTo>
                  <a:lnTo>
                    <a:pt x="1992" y="625"/>
                  </a:lnTo>
                  <a:lnTo>
                    <a:pt x="1994" y="620"/>
                  </a:lnTo>
                  <a:lnTo>
                    <a:pt x="1999" y="615"/>
                  </a:lnTo>
                  <a:lnTo>
                    <a:pt x="2004" y="608"/>
                  </a:lnTo>
                  <a:lnTo>
                    <a:pt x="2007" y="600"/>
                  </a:lnTo>
                  <a:lnTo>
                    <a:pt x="2009" y="593"/>
                  </a:lnTo>
                  <a:lnTo>
                    <a:pt x="2012" y="585"/>
                  </a:lnTo>
                  <a:lnTo>
                    <a:pt x="2009" y="580"/>
                  </a:lnTo>
                  <a:lnTo>
                    <a:pt x="2009" y="572"/>
                  </a:lnTo>
                  <a:lnTo>
                    <a:pt x="2012" y="565"/>
                  </a:lnTo>
                  <a:lnTo>
                    <a:pt x="2014" y="560"/>
                  </a:lnTo>
                  <a:lnTo>
                    <a:pt x="2022" y="552"/>
                  </a:lnTo>
                  <a:lnTo>
                    <a:pt x="2027" y="545"/>
                  </a:lnTo>
                  <a:lnTo>
                    <a:pt x="2035" y="540"/>
                  </a:lnTo>
                  <a:lnTo>
                    <a:pt x="2042" y="535"/>
                  </a:lnTo>
                  <a:lnTo>
                    <a:pt x="2047" y="532"/>
                  </a:lnTo>
                  <a:lnTo>
                    <a:pt x="2052" y="529"/>
                  </a:lnTo>
                  <a:lnTo>
                    <a:pt x="2057" y="527"/>
                  </a:lnTo>
                  <a:lnTo>
                    <a:pt x="2065" y="524"/>
                  </a:lnTo>
                  <a:lnTo>
                    <a:pt x="2072" y="517"/>
                  </a:lnTo>
                  <a:lnTo>
                    <a:pt x="2080" y="512"/>
                  </a:lnTo>
                  <a:lnTo>
                    <a:pt x="2087" y="502"/>
                  </a:lnTo>
                  <a:lnTo>
                    <a:pt x="2093" y="494"/>
                  </a:lnTo>
                  <a:lnTo>
                    <a:pt x="2098" y="484"/>
                  </a:lnTo>
                  <a:lnTo>
                    <a:pt x="2100" y="474"/>
                  </a:lnTo>
                  <a:lnTo>
                    <a:pt x="2105" y="466"/>
                  </a:lnTo>
                  <a:lnTo>
                    <a:pt x="2108" y="461"/>
                  </a:lnTo>
                  <a:lnTo>
                    <a:pt x="2108" y="456"/>
                  </a:lnTo>
                  <a:lnTo>
                    <a:pt x="2113" y="454"/>
                  </a:lnTo>
                  <a:lnTo>
                    <a:pt x="2118" y="451"/>
                  </a:lnTo>
                  <a:lnTo>
                    <a:pt x="2123" y="449"/>
                  </a:lnTo>
                  <a:lnTo>
                    <a:pt x="2125" y="446"/>
                  </a:lnTo>
                  <a:lnTo>
                    <a:pt x="2130" y="444"/>
                  </a:lnTo>
                  <a:lnTo>
                    <a:pt x="2135" y="439"/>
                  </a:lnTo>
                  <a:lnTo>
                    <a:pt x="2140" y="434"/>
                  </a:lnTo>
                  <a:lnTo>
                    <a:pt x="2148" y="429"/>
                  </a:lnTo>
                  <a:lnTo>
                    <a:pt x="2156" y="424"/>
                  </a:lnTo>
                  <a:lnTo>
                    <a:pt x="2163" y="416"/>
                  </a:lnTo>
                  <a:lnTo>
                    <a:pt x="2171" y="411"/>
                  </a:lnTo>
                  <a:lnTo>
                    <a:pt x="2176" y="403"/>
                  </a:lnTo>
                  <a:lnTo>
                    <a:pt x="2183" y="396"/>
                  </a:lnTo>
                  <a:lnTo>
                    <a:pt x="2191" y="391"/>
                  </a:lnTo>
                  <a:lnTo>
                    <a:pt x="2196" y="386"/>
                  </a:lnTo>
                  <a:lnTo>
                    <a:pt x="2198" y="378"/>
                  </a:lnTo>
                  <a:lnTo>
                    <a:pt x="2203" y="376"/>
                  </a:lnTo>
                  <a:lnTo>
                    <a:pt x="2203" y="371"/>
                  </a:lnTo>
                  <a:lnTo>
                    <a:pt x="2206" y="368"/>
                  </a:lnTo>
                  <a:lnTo>
                    <a:pt x="2203" y="366"/>
                  </a:lnTo>
                  <a:lnTo>
                    <a:pt x="2196" y="363"/>
                  </a:lnTo>
                  <a:lnTo>
                    <a:pt x="2188" y="363"/>
                  </a:lnTo>
                  <a:lnTo>
                    <a:pt x="2178" y="366"/>
                  </a:lnTo>
                  <a:lnTo>
                    <a:pt x="2168" y="368"/>
                  </a:lnTo>
                  <a:lnTo>
                    <a:pt x="2161" y="371"/>
                  </a:lnTo>
                  <a:lnTo>
                    <a:pt x="2150" y="376"/>
                  </a:lnTo>
                  <a:lnTo>
                    <a:pt x="2143" y="381"/>
                  </a:lnTo>
                  <a:lnTo>
                    <a:pt x="2140" y="383"/>
                  </a:lnTo>
                  <a:lnTo>
                    <a:pt x="2140" y="381"/>
                  </a:lnTo>
                  <a:lnTo>
                    <a:pt x="2143" y="378"/>
                  </a:lnTo>
                  <a:lnTo>
                    <a:pt x="2145" y="376"/>
                  </a:lnTo>
                  <a:lnTo>
                    <a:pt x="2145" y="371"/>
                  </a:lnTo>
                  <a:lnTo>
                    <a:pt x="2143" y="366"/>
                  </a:lnTo>
                  <a:lnTo>
                    <a:pt x="2138" y="366"/>
                  </a:lnTo>
                  <a:lnTo>
                    <a:pt x="2128" y="366"/>
                  </a:lnTo>
                  <a:lnTo>
                    <a:pt x="2125" y="368"/>
                  </a:lnTo>
                  <a:lnTo>
                    <a:pt x="2125" y="366"/>
                  </a:lnTo>
                  <a:lnTo>
                    <a:pt x="2130" y="363"/>
                  </a:lnTo>
                  <a:lnTo>
                    <a:pt x="2140" y="358"/>
                  </a:lnTo>
                  <a:lnTo>
                    <a:pt x="2150" y="356"/>
                  </a:lnTo>
                  <a:lnTo>
                    <a:pt x="2158" y="353"/>
                  </a:lnTo>
                  <a:lnTo>
                    <a:pt x="2166" y="350"/>
                  </a:lnTo>
                  <a:lnTo>
                    <a:pt x="2171" y="353"/>
                  </a:lnTo>
                  <a:lnTo>
                    <a:pt x="2173" y="353"/>
                  </a:lnTo>
                  <a:lnTo>
                    <a:pt x="2178" y="356"/>
                  </a:lnTo>
                  <a:lnTo>
                    <a:pt x="2183" y="353"/>
                  </a:lnTo>
                  <a:lnTo>
                    <a:pt x="2188" y="353"/>
                  </a:lnTo>
                  <a:lnTo>
                    <a:pt x="2193" y="350"/>
                  </a:lnTo>
                  <a:lnTo>
                    <a:pt x="2198" y="345"/>
                  </a:lnTo>
                  <a:lnTo>
                    <a:pt x="2201" y="343"/>
                  </a:lnTo>
                  <a:lnTo>
                    <a:pt x="2201" y="338"/>
                  </a:lnTo>
                  <a:lnTo>
                    <a:pt x="2198" y="333"/>
                  </a:lnTo>
                  <a:lnTo>
                    <a:pt x="2196" y="330"/>
                  </a:lnTo>
                  <a:lnTo>
                    <a:pt x="2193" y="328"/>
                  </a:lnTo>
                  <a:lnTo>
                    <a:pt x="2188" y="325"/>
                  </a:lnTo>
                  <a:lnTo>
                    <a:pt x="2183" y="325"/>
                  </a:lnTo>
                  <a:lnTo>
                    <a:pt x="2176" y="323"/>
                  </a:lnTo>
                  <a:lnTo>
                    <a:pt x="2168" y="323"/>
                  </a:lnTo>
                  <a:lnTo>
                    <a:pt x="2161" y="323"/>
                  </a:lnTo>
                  <a:lnTo>
                    <a:pt x="2153" y="323"/>
                  </a:lnTo>
                  <a:lnTo>
                    <a:pt x="2145" y="323"/>
                  </a:lnTo>
                  <a:lnTo>
                    <a:pt x="2140" y="323"/>
                  </a:lnTo>
                  <a:lnTo>
                    <a:pt x="2138" y="325"/>
                  </a:lnTo>
                  <a:lnTo>
                    <a:pt x="2135" y="325"/>
                  </a:lnTo>
                  <a:lnTo>
                    <a:pt x="2135" y="323"/>
                  </a:lnTo>
                  <a:lnTo>
                    <a:pt x="2138" y="320"/>
                  </a:lnTo>
                  <a:lnTo>
                    <a:pt x="2143" y="318"/>
                  </a:lnTo>
                  <a:lnTo>
                    <a:pt x="2148" y="318"/>
                  </a:lnTo>
                  <a:lnTo>
                    <a:pt x="2153" y="318"/>
                  </a:lnTo>
                  <a:lnTo>
                    <a:pt x="2158" y="318"/>
                  </a:lnTo>
                  <a:lnTo>
                    <a:pt x="2161" y="315"/>
                  </a:lnTo>
                  <a:lnTo>
                    <a:pt x="2161" y="313"/>
                  </a:lnTo>
                  <a:lnTo>
                    <a:pt x="2156" y="310"/>
                  </a:lnTo>
                  <a:lnTo>
                    <a:pt x="2150" y="308"/>
                  </a:lnTo>
                  <a:lnTo>
                    <a:pt x="2145" y="305"/>
                  </a:lnTo>
                  <a:lnTo>
                    <a:pt x="2140" y="303"/>
                  </a:lnTo>
                  <a:lnTo>
                    <a:pt x="2135" y="303"/>
                  </a:lnTo>
                  <a:lnTo>
                    <a:pt x="2133" y="300"/>
                  </a:lnTo>
                  <a:lnTo>
                    <a:pt x="2133" y="298"/>
                  </a:lnTo>
                  <a:lnTo>
                    <a:pt x="2138" y="295"/>
                  </a:lnTo>
                  <a:lnTo>
                    <a:pt x="2143" y="292"/>
                  </a:lnTo>
                  <a:lnTo>
                    <a:pt x="2148" y="290"/>
                  </a:lnTo>
                  <a:lnTo>
                    <a:pt x="2150" y="285"/>
                  </a:lnTo>
                  <a:lnTo>
                    <a:pt x="2153" y="282"/>
                  </a:lnTo>
                  <a:lnTo>
                    <a:pt x="2156" y="277"/>
                  </a:lnTo>
                  <a:lnTo>
                    <a:pt x="2156" y="275"/>
                  </a:lnTo>
                  <a:lnTo>
                    <a:pt x="2153" y="272"/>
                  </a:lnTo>
                  <a:lnTo>
                    <a:pt x="2153" y="270"/>
                  </a:lnTo>
                  <a:lnTo>
                    <a:pt x="2150" y="267"/>
                  </a:lnTo>
                  <a:lnTo>
                    <a:pt x="2150" y="265"/>
                  </a:lnTo>
                  <a:lnTo>
                    <a:pt x="2150" y="260"/>
                  </a:lnTo>
                  <a:lnTo>
                    <a:pt x="2153" y="257"/>
                  </a:lnTo>
                  <a:lnTo>
                    <a:pt x="2153" y="255"/>
                  </a:lnTo>
                  <a:lnTo>
                    <a:pt x="2153" y="252"/>
                  </a:lnTo>
                  <a:lnTo>
                    <a:pt x="2150" y="250"/>
                  </a:lnTo>
                  <a:lnTo>
                    <a:pt x="2148" y="250"/>
                  </a:lnTo>
                  <a:lnTo>
                    <a:pt x="2143" y="247"/>
                  </a:lnTo>
                  <a:lnTo>
                    <a:pt x="2140" y="245"/>
                  </a:lnTo>
                  <a:lnTo>
                    <a:pt x="2140" y="242"/>
                  </a:lnTo>
                  <a:lnTo>
                    <a:pt x="2140" y="240"/>
                  </a:lnTo>
                  <a:lnTo>
                    <a:pt x="2140" y="237"/>
                  </a:lnTo>
                  <a:lnTo>
                    <a:pt x="2138" y="234"/>
                  </a:lnTo>
                  <a:lnTo>
                    <a:pt x="2133" y="234"/>
                  </a:lnTo>
                  <a:lnTo>
                    <a:pt x="2128" y="232"/>
                  </a:lnTo>
                  <a:lnTo>
                    <a:pt x="2120" y="232"/>
                  </a:lnTo>
                  <a:lnTo>
                    <a:pt x="2113" y="229"/>
                  </a:lnTo>
                  <a:lnTo>
                    <a:pt x="2105" y="229"/>
                  </a:lnTo>
                  <a:lnTo>
                    <a:pt x="2100" y="227"/>
                  </a:lnTo>
                  <a:lnTo>
                    <a:pt x="2095" y="224"/>
                  </a:lnTo>
                  <a:lnTo>
                    <a:pt x="2095" y="219"/>
                  </a:lnTo>
                  <a:lnTo>
                    <a:pt x="2100" y="217"/>
                  </a:lnTo>
                  <a:lnTo>
                    <a:pt x="2105" y="212"/>
                  </a:lnTo>
                  <a:lnTo>
                    <a:pt x="2108" y="207"/>
                  </a:lnTo>
                  <a:lnTo>
                    <a:pt x="2110" y="204"/>
                  </a:lnTo>
                  <a:lnTo>
                    <a:pt x="2108" y="202"/>
                  </a:lnTo>
                  <a:lnTo>
                    <a:pt x="2105" y="202"/>
                  </a:lnTo>
                  <a:lnTo>
                    <a:pt x="2103" y="199"/>
                  </a:lnTo>
                  <a:lnTo>
                    <a:pt x="2098" y="202"/>
                  </a:lnTo>
                  <a:lnTo>
                    <a:pt x="2093" y="202"/>
                  </a:lnTo>
                  <a:lnTo>
                    <a:pt x="2087" y="202"/>
                  </a:lnTo>
                  <a:lnTo>
                    <a:pt x="2085" y="202"/>
                  </a:lnTo>
                  <a:lnTo>
                    <a:pt x="2082" y="199"/>
                  </a:lnTo>
                  <a:lnTo>
                    <a:pt x="2082" y="197"/>
                  </a:lnTo>
                  <a:lnTo>
                    <a:pt x="2080" y="197"/>
                  </a:lnTo>
                  <a:lnTo>
                    <a:pt x="2077" y="194"/>
                  </a:lnTo>
                  <a:lnTo>
                    <a:pt x="2075" y="194"/>
                  </a:lnTo>
                  <a:lnTo>
                    <a:pt x="2070" y="194"/>
                  </a:lnTo>
                  <a:lnTo>
                    <a:pt x="2062" y="194"/>
                  </a:lnTo>
                  <a:lnTo>
                    <a:pt x="2055" y="184"/>
                  </a:lnTo>
                  <a:lnTo>
                    <a:pt x="2052" y="174"/>
                  </a:lnTo>
                  <a:lnTo>
                    <a:pt x="2050" y="161"/>
                  </a:lnTo>
                  <a:lnTo>
                    <a:pt x="2050" y="154"/>
                  </a:lnTo>
                  <a:lnTo>
                    <a:pt x="2050" y="146"/>
                  </a:lnTo>
                  <a:lnTo>
                    <a:pt x="2050" y="141"/>
                  </a:lnTo>
                  <a:lnTo>
                    <a:pt x="2047" y="134"/>
                  </a:lnTo>
                  <a:lnTo>
                    <a:pt x="2045" y="129"/>
                  </a:lnTo>
                  <a:lnTo>
                    <a:pt x="2045" y="121"/>
                  </a:lnTo>
                  <a:lnTo>
                    <a:pt x="2047" y="111"/>
                  </a:lnTo>
                  <a:lnTo>
                    <a:pt x="2047" y="103"/>
                  </a:lnTo>
                  <a:lnTo>
                    <a:pt x="2047" y="101"/>
                  </a:lnTo>
                  <a:lnTo>
                    <a:pt x="2045" y="98"/>
                  </a:lnTo>
                  <a:lnTo>
                    <a:pt x="2042" y="98"/>
                  </a:lnTo>
                  <a:lnTo>
                    <a:pt x="2040" y="96"/>
                  </a:lnTo>
                  <a:lnTo>
                    <a:pt x="2035" y="96"/>
                  </a:lnTo>
                  <a:lnTo>
                    <a:pt x="2032" y="98"/>
                  </a:lnTo>
                  <a:lnTo>
                    <a:pt x="2029" y="98"/>
                  </a:lnTo>
                  <a:lnTo>
                    <a:pt x="2027" y="98"/>
                  </a:lnTo>
                  <a:lnTo>
                    <a:pt x="2022" y="101"/>
                  </a:lnTo>
                  <a:lnTo>
                    <a:pt x="2017" y="103"/>
                  </a:lnTo>
                  <a:lnTo>
                    <a:pt x="2014" y="106"/>
                  </a:lnTo>
                  <a:lnTo>
                    <a:pt x="2012" y="111"/>
                  </a:lnTo>
                  <a:lnTo>
                    <a:pt x="2009" y="113"/>
                  </a:lnTo>
                  <a:lnTo>
                    <a:pt x="2007" y="116"/>
                  </a:lnTo>
                  <a:lnTo>
                    <a:pt x="2004" y="121"/>
                  </a:lnTo>
                  <a:lnTo>
                    <a:pt x="2004" y="124"/>
                  </a:lnTo>
                  <a:lnTo>
                    <a:pt x="2002" y="129"/>
                  </a:lnTo>
                  <a:lnTo>
                    <a:pt x="1999" y="131"/>
                  </a:lnTo>
                  <a:lnTo>
                    <a:pt x="1997" y="131"/>
                  </a:lnTo>
                  <a:lnTo>
                    <a:pt x="1994" y="131"/>
                  </a:lnTo>
                  <a:lnTo>
                    <a:pt x="1992" y="134"/>
                  </a:lnTo>
                  <a:lnTo>
                    <a:pt x="1992" y="131"/>
                  </a:lnTo>
                  <a:lnTo>
                    <a:pt x="1989" y="131"/>
                  </a:lnTo>
                  <a:lnTo>
                    <a:pt x="1987" y="129"/>
                  </a:lnTo>
                  <a:lnTo>
                    <a:pt x="1984" y="126"/>
                  </a:lnTo>
                  <a:lnTo>
                    <a:pt x="1982" y="126"/>
                  </a:lnTo>
                  <a:lnTo>
                    <a:pt x="1979" y="126"/>
                  </a:lnTo>
                  <a:lnTo>
                    <a:pt x="1977" y="129"/>
                  </a:lnTo>
                  <a:lnTo>
                    <a:pt x="1974" y="131"/>
                  </a:lnTo>
                  <a:lnTo>
                    <a:pt x="1971" y="134"/>
                  </a:lnTo>
                  <a:lnTo>
                    <a:pt x="1969" y="136"/>
                  </a:lnTo>
                  <a:lnTo>
                    <a:pt x="1964" y="141"/>
                  </a:lnTo>
                  <a:lnTo>
                    <a:pt x="1964" y="139"/>
                  </a:lnTo>
                  <a:lnTo>
                    <a:pt x="1964" y="136"/>
                  </a:lnTo>
                  <a:lnTo>
                    <a:pt x="1964" y="134"/>
                  </a:lnTo>
                  <a:lnTo>
                    <a:pt x="1961" y="131"/>
                  </a:lnTo>
                  <a:lnTo>
                    <a:pt x="1954" y="131"/>
                  </a:lnTo>
                  <a:lnTo>
                    <a:pt x="1946" y="134"/>
                  </a:lnTo>
                  <a:lnTo>
                    <a:pt x="1946" y="131"/>
                  </a:lnTo>
                  <a:lnTo>
                    <a:pt x="1951" y="129"/>
                  </a:lnTo>
                  <a:lnTo>
                    <a:pt x="1954" y="124"/>
                  </a:lnTo>
                  <a:lnTo>
                    <a:pt x="1959" y="119"/>
                  </a:lnTo>
                  <a:lnTo>
                    <a:pt x="1961" y="116"/>
                  </a:lnTo>
                  <a:lnTo>
                    <a:pt x="1964" y="111"/>
                  </a:lnTo>
                  <a:lnTo>
                    <a:pt x="1961" y="108"/>
                  </a:lnTo>
                  <a:lnTo>
                    <a:pt x="1954" y="108"/>
                  </a:lnTo>
                  <a:lnTo>
                    <a:pt x="1949" y="111"/>
                  </a:lnTo>
                  <a:lnTo>
                    <a:pt x="1944" y="111"/>
                  </a:lnTo>
                  <a:lnTo>
                    <a:pt x="1939" y="111"/>
                  </a:lnTo>
                  <a:lnTo>
                    <a:pt x="1934" y="108"/>
                  </a:lnTo>
                  <a:lnTo>
                    <a:pt x="1931" y="108"/>
                  </a:lnTo>
                  <a:lnTo>
                    <a:pt x="1926" y="108"/>
                  </a:lnTo>
                  <a:lnTo>
                    <a:pt x="1924" y="108"/>
                  </a:lnTo>
                  <a:lnTo>
                    <a:pt x="1919" y="108"/>
                  </a:lnTo>
                  <a:lnTo>
                    <a:pt x="1916" y="108"/>
                  </a:lnTo>
                  <a:lnTo>
                    <a:pt x="1914" y="111"/>
                  </a:lnTo>
                  <a:lnTo>
                    <a:pt x="1911" y="111"/>
                  </a:lnTo>
                  <a:lnTo>
                    <a:pt x="1906" y="111"/>
                  </a:lnTo>
                  <a:lnTo>
                    <a:pt x="1898" y="116"/>
                  </a:lnTo>
                  <a:lnTo>
                    <a:pt x="1888" y="121"/>
                  </a:lnTo>
                  <a:lnTo>
                    <a:pt x="1876" y="126"/>
                  </a:lnTo>
                  <a:lnTo>
                    <a:pt x="1866" y="129"/>
                  </a:lnTo>
                  <a:lnTo>
                    <a:pt x="1853" y="134"/>
                  </a:lnTo>
                  <a:lnTo>
                    <a:pt x="1845" y="139"/>
                  </a:lnTo>
                  <a:lnTo>
                    <a:pt x="1838" y="144"/>
                  </a:lnTo>
                  <a:lnTo>
                    <a:pt x="1835" y="149"/>
                  </a:lnTo>
                  <a:lnTo>
                    <a:pt x="1833" y="151"/>
                  </a:lnTo>
                  <a:lnTo>
                    <a:pt x="1830" y="156"/>
                  </a:lnTo>
                  <a:lnTo>
                    <a:pt x="1830" y="159"/>
                  </a:lnTo>
                  <a:lnTo>
                    <a:pt x="1828" y="161"/>
                  </a:lnTo>
                  <a:lnTo>
                    <a:pt x="1825" y="164"/>
                  </a:lnTo>
                  <a:lnTo>
                    <a:pt x="1820" y="166"/>
                  </a:lnTo>
                  <a:lnTo>
                    <a:pt x="1815" y="166"/>
                  </a:lnTo>
                  <a:lnTo>
                    <a:pt x="1808" y="166"/>
                  </a:lnTo>
                  <a:lnTo>
                    <a:pt x="1800" y="169"/>
                  </a:lnTo>
                  <a:lnTo>
                    <a:pt x="1792" y="169"/>
                  </a:lnTo>
                  <a:lnTo>
                    <a:pt x="1782" y="174"/>
                  </a:lnTo>
                  <a:lnTo>
                    <a:pt x="1775" y="176"/>
                  </a:lnTo>
                  <a:lnTo>
                    <a:pt x="1767" y="182"/>
                  </a:lnTo>
                  <a:lnTo>
                    <a:pt x="1760" y="184"/>
                  </a:lnTo>
                  <a:lnTo>
                    <a:pt x="1755" y="189"/>
                  </a:lnTo>
                  <a:lnTo>
                    <a:pt x="1752" y="192"/>
                  </a:lnTo>
                  <a:lnTo>
                    <a:pt x="1750" y="197"/>
                  </a:lnTo>
                  <a:lnTo>
                    <a:pt x="1745" y="202"/>
                  </a:lnTo>
                  <a:lnTo>
                    <a:pt x="1737" y="207"/>
                  </a:lnTo>
                  <a:lnTo>
                    <a:pt x="1727" y="212"/>
                  </a:lnTo>
                  <a:lnTo>
                    <a:pt x="1719" y="217"/>
                  </a:lnTo>
                  <a:lnTo>
                    <a:pt x="1712" y="222"/>
                  </a:lnTo>
                  <a:lnTo>
                    <a:pt x="1707" y="229"/>
                  </a:lnTo>
                  <a:lnTo>
                    <a:pt x="1704" y="234"/>
                  </a:lnTo>
                  <a:lnTo>
                    <a:pt x="1704" y="240"/>
                  </a:lnTo>
                  <a:lnTo>
                    <a:pt x="1702" y="247"/>
                  </a:lnTo>
                  <a:lnTo>
                    <a:pt x="1697" y="252"/>
                  </a:lnTo>
                  <a:lnTo>
                    <a:pt x="1692" y="255"/>
                  </a:lnTo>
                  <a:lnTo>
                    <a:pt x="1684" y="260"/>
                  </a:lnTo>
                  <a:lnTo>
                    <a:pt x="1677" y="262"/>
                  </a:lnTo>
                  <a:lnTo>
                    <a:pt x="1669" y="265"/>
                  </a:lnTo>
                  <a:lnTo>
                    <a:pt x="1659" y="267"/>
                  </a:lnTo>
                  <a:lnTo>
                    <a:pt x="1651" y="270"/>
                  </a:lnTo>
                  <a:lnTo>
                    <a:pt x="1646" y="272"/>
                  </a:lnTo>
                  <a:lnTo>
                    <a:pt x="1639" y="277"/>
                  </a:lnTo>
                  <a:lnTo>
                    <a:pt x="1636" y="280"/>
                  </a:lnTo>
                  <a:lnTo>
                    <a:pt x="1634" y="282"/>
                  </a:lnTo>
                  <a:lnTo>
                    <a:pt x="1634" y="287"/>
                  </a:lnTo>
                  <a:lnTo>
                    <a:pt x="1634" y="290"/>
                  </a:lnTo>
                  <a:lnTo>
                    <a:pt x="1636" y="295"/>
                  </a:lnTo>
                  <a:close/>
                  <a:moveTo>
                    <a:pt x="1258" y="159"/>
                  </a:moveTo>
                  <a:lnTo>
                    <a:pt x="1258" y="159"/>
                  </a:lnTo>
                  <a:lnTo>
                    <a:pt x="1261" y="159"/>
                  </a:lnTo>
                  <a:lnTo>
                    <a:pt x="1263" y="164"/>
                  </a:lnTo>
                  <a:lnTo>
                    <a:pt x="1271" y="166"/>
                  </a:lnTo>
                  <a:lnTo>
                    <a:pt x="1278" y="166"/>
                  </a:lnTo>
                  <a:lnTo>
                    <a:pt x="1283" y="161"/>
                  </a:lnTo>
                  <a:lnTo>
                    <a:pt x="1288" y="159"/>
                  </a:lnTo>
                  <a:lnTo>
                    <a:pt x="1291" y="156"/>
                  </a:lnTo>
                  <a:lnTo>
                    <a:pt x="1293" y="154"/>
                  </a:lnTo>
                  <a:lnTo>
                    <a:pt x="1296" y="156"/>
                  </a:lnTo>
                  <a:lnTo>
                    <a:pt x="1301" y="159"/>
                  </a:lnTo>
                  <a:lnTo>
                    <a:pt x="1306" y="164"/>
                  </a:lnTo>
                  <a:lnTo>
                    <a:pt x="1311" y="169"/>
                  </a:lnTo>
                  <a:lnTo>
                    <a:pt x="1316" y="174"/>
                  </a:lnTo>
                  <a:lnTo>
                    <a:pt x="1316" y="176"/>
                  </a:lnTo>
                  <a:lnTo>
                    <a:pt x="1311" y="174"/>
                  </a:lnTo>
                  <a:lnTo>
                    <a:pt x="1306" y="171"/>
                  </a:lnTo>
                  <a:lnTo>
                    <a:pt x="1298" y="169"/>
                  </a:lnTo>
                  <a:lnTo>
                    <a:pt x="1296" y="171"/>
                  </a:lnTo>
                  <a:lnTo>
                    <a:pt x="1296" y="176"/>
                  </a:lnTo>
                  <a:lnTo>
                    <a:pt x="1296" y="182"/>
                  </a:lnTo>
                  <a:lnTo>
                    <a:pt x="1301" y="184"/>
                  </a:lnTo>
                  <a:lnTo>
                    <a:pt x="1303" y="189"/>
                  </a:lnTo>
                  <a:lnTo>
                    <a:pt x="1303" y="194"/>
                  </a:lnTo>
                  <a:lnTo>
                    <a:pt x="1301" y="197"/>
                  </a:lnTo>
                  <a:lnTo>
                    <a:pt x="1296" y="199"/>
                  </a:lnTo>
                  <a:lnTo>
                    <a:pt x="1293" y="202"/>
                  </a:lnTo>
                  <a:lnTo>
                    <a:pt x="1291" y="204"/>
                  </a:lnTo>
                  <a:lnTo>
                    <a:pt x="1293" y="209"/>
                  </a:lnTo>
                  <a:lnTo>
                    <a:pt x="1296" y="214"/>
                  </a:lnTo>
                  <a:lnTo>
                    <a:pt x="1298" y="214"/>
                  </a:lnTo>
                  <a:lnTo>
                    <a:pt x="1306" y="214"/>
                  </a:lnTo>
                  <a:lnTo>
                    <a:pt x="1313" y="214"/>
                  </a:lnTo>
                  <a:lnTo>
                    <a:pt x="1321" y="214"/>
                  </a:lnTo>
                  <a:lnTo>
                    <a:pt x="1326" y="214"/>
                  </a:lnTo>
                  <a:lnTo>
                    <a:pt x="1331" y="212"/>
                  </a:lnTo>
                  <a:lnTo>
                    <a:pt x="1336" y="209"/>
                  </a:lnTo>
                  <a:lnTo>
                    <a:pt x="1341" y="207"/>
                  </a:lnTo>
                  <a:lnTo>
                    <a:pt x="1346" y="204"/>
                  </a:lnTo>
                  <a:lnTo>
                    <a:pt x="1351" y="204"/>
                  </a:lnTo>
                  <a:lnTo>
                    <a:pt x="1356" y="207"/>
                  </a:lnTo>
                  <a:lnTo>
                    <a:pt x="1359" y="207"/>
                  </a:lnTo>
                  <a:lnTo>
                    <a:pt x="1364" y="207"/>
                  </a:lnTo>
                  <a:lnTo>
                    <a:pt x="1366" y="204"/>
                  </a:lnTo>
                  <a:lnTo>
                    <a:pt x="1371" y="199"/>
                  </a:lnTo>
                  <a:lnTo>
                    <a:pt x="1374" y="197"/>
                  </a:lnTo>
                  <a:lnTo>
                    <a:pt x="1377" y="194"/>
                  </a:lnTo>
                  <a:lnTo>
                    <a:pt x="1374" y="189"/>
                  </a:lnTo>
                  <a:lnTo>
                    <a:pt x="1369" y="187"/>
                  </a:lnTo>
                  <a:lnTo>
                    <a:pt x="1361" y="184"/>
                  </a:lnTo>
                  <a:lnTo>
                    <a:pt x="1359" y="182"/>
                  </a:lnTo>
                  <a:lnTo>
                    <a:pt x="1356" y="179"/>
                  </a:lnTo>
                  <a:lnTo>
                    <a:pt x="1359" y="176"/>
                  </a:lnTo>
                  <a:lnTo>
                    <a:pt x="1364" y="174"/>
                  </a:lnTo>
                  <a:lnTo>
                    <a:pt x="1364" y="171"/>
                  </a:lnTo>
                  <a:lnTo>
                    <a:pt x="1366" y="166"/>
                  </a:lnTo>
                  <a:lnTo>
                    <a:pt x="1364" y="161"/>
                  </a:lnTo>
                  <a:lnTo>
                    <a:pt x="1364" y="159"/>
                  </a:lnTo>
                  <a:lnTo>
                    <a:pt x="1364" y="156"/>
                  </a:lnTo>
                  <a:lnTo>
                    <a:pt x="1364" y="154"/>
                  </a:lnTo>
                  <a:lnTo>
                    <a:pt x="1366" y="151"/>
                  </a:lnTo>
                  <a:lnTo>
                    <a:pt x="1371" y="144"/>
                  </a:lnTo>
                  <a:lnTo>
                    <a:pt x="1377" y="136"/>
                  </a:lnTo>
                  <a:lnTo>
                    <a:pt x="1374" y="129"/>
                  </a:lnTo>
                  <a:lnTo>
                    <a:pt x="1366" y="124"/>
                  </a:lnTo>
                  <a:lnTo>
                    <a:pt x="1359" y="119"/>
                  </a:lnTo>
                  <a:lnTo>
                    <a:pt x="1354" y="116"/>
                  </a:lnTo>
                  <a:lnTo>
                    <a:pt x="1354" y="111"/>
                  </a:lnTo>
                  <a:lnTo>
                    <a:pt x="1359" y="108"/>
                  </a:lnTo>
                  <a:lnTo>
                    <a:pt x="1366" y="103"/>
                  </a:lnTo>
                  <a:lnTo>
                    <a:pt x="1371" y="98"/>
                  </a:lnTo>
                  <a:lnTo>
                    <a:pt x="1374" y="91"/>
                  </a:lnTo>
                  <a:lnTo>
                    <a:pt x="1374" y="86"/>
                  </a:lnTo>
                  <a:lnTo>
                    <a:pt x="1374" y="78"/>
                  </a:lnTo>
                  <a:lnTo>
                    <a:pt x="1374" y="71"/>
                  </a:lnTo>
                  <a:lnTo>
                    <a:pt x="1374" y="66"/>
                  </a:lnTo>
                  <a:lnTo>
                    <a:pt x="1377" y="55"/>
                  </a:lnTo>
                  <a:lnTo>
                    <a:pt x="1377" y="48"/>
                  </a:lnTo>
                  <a:lnTo>
                    <a:pt x="1379" y="40"/>
                  </a:lnTo>
                  <a:lnTo>
                    <a:pt x="1377" y="38"/>
                  </a:lnTo>
                  <a:lnTo>
                    <a:pt x="1374" y="35"/>
                  </a:lnTo>
                  <a:lnTo>
                    <a:pt x="1369" y="38"/>
                  </a:lnTo>
                  <a:lnTo>
                    <a:pt x="1366" y="35"/>
                  </a:lnTo>
                  <a:lnTo>
                    <a:pt x="1369" y="30"/>
                  </a:lnTo>
                  <a:lnTo>
                    <a:pt x="1374" y="23"/>
                  </a:lnTo>
                  <a:lnTo>
                    <a:pt x="1377" y="18"/>
                  </a:lnTo>
                  <a:lnTo>
                    <a:pt x="1377" y="10"/>
                  </a:lnTo>
                  <a:lnTo>
                    <a:pt x="1377" y="5"/>
                  </a:lnTo>
                  <a:lnTo>
                    <a:pt x="1374" y="5"/>
                  </a:lnTo>
                  <a:lnTo>
                    <a:pt x="1371" y="5"/>
                  </a:lnTo>
                  <a:lnTo>
                    <a:pt x="1369" y="5"/>
                  </a:lnTo>
                  <a:lnTo>
                    <a:pt x="1366" y="5"/>
                  </a:lnTo>
                  <a:lnTo>
                    <a:pt x="1361" y="3"/>
                  </a:lnTo>
                  <a:lnTo>
                    <a:pt x="1356" y="3"/>
                  </a:lnTo>
                  <a:lnTo>
                    <a:pt x="1354" y="0"/>
                  </a:lnTo>
                  <a:lnTo>
                    <a:pt x="1351" y="0"/>
                  </a:lnTo>
                  <a:lnTo>
                    <a:pt x="1349" y="3"/>
                  </a:lnTo>
                  <a:lnTo>
                    <a:pt x="1346" y="5"/>
                  </a:lnTo>
                  <a:lnTo>
                    <a:pt x="1341" y="5"/>
                  </a:lnTo>
                  <a:lnTo>
                    <a:pt x="1336" y="5"/>
                  </a:lnTo>
                  <a:lnTo>
                    <a:pt x="1334" y="5"/>
                  </a:lnTo>
                  <a:lnTo>
                    <a:pt x="1329" y="8"/>
                  </a:lnTo>
                  <a:lnTo>
                    <a:pt x="1326" y="8"/>
                  </a:lnTo>
                  <a:lnTo>
                    <a:pt x="1324" y="8"/>
                  </a:lnTo>
                  <a:lnTo>
                    <a:pt x="1324" y="10"/>
                  </a:lnTo>
                  <a:lnTo>
                    <a:pt x="1321" y="13"/>
                  </a:lnTo>
                  <a:lnTo>
                    <a:pt x="1319" y="13"/>
                  </a:lnTo>
                  <a:lnTo>
                    <a:pt x="1316" y="13"/>
                  </a:lnTo>
                  <a:lnTo>
                    <a:pt x="1311" y="15"/>
                  </a:lnTo>
                  <a:lnTo>
                    <a:pt x="1303" y="18"/>
                  </a:lnTo>
                  <a:lnTo>
                    <a:pt x="1301" y="20"/>
                  </a:lnTo>
                  <a:lnTo>
                    <a:pt x="1296" y="25"/>
                  </a:lnTo>
                  <a:lnTo>
                    <a:pt x="1293" y="30"/>
                  </a:lnTo>
                  <a:lnTo>
                    <a:pt x="1293" y="35"/>
                  </a:lnTo>
                  <a:lnTo>
                    <a:pt x="1293" y="38"/>
                  </a:lnTo>
                  <a:lnTo>
                    <a:pt x="1293" y="40"/>
                  </a:lnTo>
                  <a:lnTo>
                    <a:pt x="1291" y="40"/>
                  </a:lnTo>
                  <a:lnTo>
                    <a:pt x="1286" y="43"/>
                  </a:lnTo>
                  <a:lnTo>
                    <a:pt x="1281" y="43"/>
                  </a:lnTo>
                  <a:lnTo>
                    <a:pt x="1278" y="45"/>
                  </a:lnTo>
                  <a:lnTo>
                    <a:pt x="1276" y="48"/>
                  </a:lnTo>
                  <a:lnTo>
                    <a:pt x="1273" y="50"/>
                  </a:lnTo>
                  <a:lnTo>
                    <a:pt x="1271" y="53"/>
                  </a:lnTo>
                  <a:lnTo>
                    <a:pt x="1268" y="55"/>
                  </a:lnTo>
                  <a:lnTo>
                    <a:pt x="1266" y="58"/>
                  </a:lnTo>
                  <a:lnTo>
                    <a:pt x="1263" y="61"/>
                  </a:lnTo>
                  <a:lnTo>
                    <a:pt x="1261" y="66"/>
                  </a:lnTo>
                  <a:lnTo>
                    <a:pt x="1261" y="71"/>
                  </a:lnTo>
                  <a:lnTo>
                    <a:pt x="1266" y="76"/>
                  </a:lnTo>
                  <a:lnTo>
                    <a:pt x="1268" y="81"/>
                  </a:lnTo>
                  <a:lnTo>
                    <a:pt x="1271" y="86"/>
                  </a:lnTo>
                  <a:lnTo>
                    <a:pt x="1271" y="88"/>
                  </a:lnTo>
                  <a:lnTo>
                    <a:pt x="1268" y="91"/>
                  </a:lnTo>
                  <a:lnTo>
                    <a:pt x="1268" y="96"/>
                  </a:lnTo>
                  <a:lnTo>
                    <a:pt x="1266" y="96"/>
                  </a:lnTo>
                  <a:lnTo>
                    <a:pt x="1263" y="93"/>
                  </a:lnTo>
                  <a:lnTo>
                    <a:pt x="1261" y="88"/>
                  </a:lnTo>
                  <a:lnTo>
                    <a:pt x="1258" y="83"/>
                  </a:lnTo>
                  <a:lnTo>
                    <a:pt x="1256" y="78"/>
                  </a:lnTo>
                  <a:lnTo>
                    <a:pt x="1253" y="76"/>
                  </a:lnTo>
                  <a:lnTo>
                    <a:pt x="1250" y="78"/>
                  </a:lnTo>
                  <a:lnTo>
                    <a:pt x="1248" y="81"/>
                  </a:lnTo>
                  <a:lnTo>
                    <a:pt x="1245" y="86"/>
                  </a:lnTo>
                  <a:lnTo>
                    <a:pt x="1243" y="88"/>
                  </a:lnTo>
                  <a:lnTo>
                    <a:pt x="1240" y="93"/>
                  </a:lnTo>
                  <a:lnTo>
                    <a:pt x="1240" y="98"/>
                  </a:lnTo>
                  <a:lnTo>
                    <a:pt x="1238" y="108"/>
                  </a:lnTo>
                  <a:lnTo>
                    <a:pt x="1235" y="116"/>
                  </a:lnTo>
                  <a:lnTo>
                    <a:pt x="1235" y="121"/>
                  </a:lnTo>
                  <a:lnTo>
                    <a:pt x="1235" y="126"/>
                  </a:lnTo>
                  <a:lnTo>
                    <a:pt x="1238" y="131"/>
                  </a:lnTo>
                  <a:lnTo>
                    <a:pt x="1243" y="134"/>
                  </a:lnTo>
                  <a:lnTo>
                    <a:pt x="1245" y="134"/>
                  </a:lnTo>
                  <a:lnTo>
                    <a:pt x="1250" y="134"/>
                  </a:lnTo>
                  <a:lnTo>
                    <a:pt x="1253" y="136"/>
                  </a:lnTo>
                  <a:lnTo>
                    <a:pt x="1256" y="134"/>
                  </a:lnTo>
                  <a:lnTo>
                    <a:pt x="1258" y="134"/>
                  </a:lnTo>
                  <a:lnTo>
                    <a:pt x="1258" y="136"/>
                  </a:lnTo>
                  <a:lnTo>
                    <a:pt x="1256" y="141"/>
                  </a:lnTo>
                  <a:lnTo>
                    <a:pt x="1253" y="144"/>
                  </a:lnTo>
                  <a:lnTo>
                    <a:pt x="1253" y="146"/>
                  </a:lnTo>
                  <a:lnTo>
                    <a:pt x="1258" y="159"/>
                  </a:lnTo>
                  <a:close/>
                  <a:moveTo>
                    <a:pt x="1866" y="1003"/>
                  </a:moveTo>
                  <a:lnTo>
                    <a:pt x="1840" y="1024"/>
                  </a:lnTo>
                  <a:lnTo>
                    <a:pt x="1813" y="1067"/>
                  </a:lnTo>
                  <a:lnTo>
                    <a:pt x="1808" y="1082"/>
                  </a:lnTo>
                  <a:lnTo>
                    <a:pt x="1808" y="1102"/>
                  </a:lnTo>
                  <a:lnTo>
                    <a:pt x="1823" y="1097"/>
                  </a:lnTo>
                  <a:lnTo>
                    <a:pt x="1850" y="1102"/>
                  </a:lnTo>
                  <a:lnTo>
                    <a:pt x="1866" y="1112"/>
                  </a:lnTo>
                  <a:lnTo>
                    <a:pt x="1881" y="1107"/>
                  </a:lnTo>
                  <a:lnTo>
                    <a:pt x="1893" y="1122"/>
                  </a:lnTo>
                  <a:lnTo>
                    <a:pt x="1914" y="1117"/>
                  </a:lnTo>
                  <a:lnTo>
                    <a:pt x="1914" y="1097"/>
                  </a:lnTo>
                  <a:lnTo>
                    <a:pt x="1903" y="1072"/>
                  </a:lnTo>
                  <a:lnTo>
                    <a:pt x="1861" y="1051"/>
                  </a:lnTo>
                  <a:lnTo>
                    <a:pt x="1856" y="1041"/>
                  </a:lnTo>
                  <a:lnTo>
                    <a:pt x="1866" y="1019"/>
                  </a:lnTo>
                  <a:lnTo>
                    <a:pt x="1866" y="1003"/>
                  </a:lnTo>
                  <a:close/>
                  <a:moveTo>
                    <a:pt x="1258" y="247"/>
                  </a:moveTo>
                  <a:lnTo>
                    <a:pt x="1258" y="245"/>
                  </a:lnTo>
                  <a:lnTo>
                    <a:pt x="1256" y="245"/>
                  </a:lnTo>
                  <a:lnTo>
                    <a:pt x="1253" y="247"/>
                  </a:lnTo>
                  <a:lnTo>
                    <a:pt x="1258" y="247"/>
                  </a:lnTo>
                  <a:close/>
                  <a:moveTo>
                    <a:pt x="1238" y="219"/>
                  </a:moveTo>
                  <a:lnTo>
                    <a:pt x="1243" y="219"/>
                  </a:lnTo>
                  <a:lnTo>
                    <a:pt x="1250" y="224"/>
                  </a:lnTo>
                  <a:lnTo>
                    <a:pt x="1253" y="227"/>
                  </a:lnTo>
                  <a:lnTo>
                    <a:pt x="1256" y="227"/>
                  </a:lnTo>
                  <a:lnTo>
                    <a:pt x="1261" y="224"/>
                  </a:lnTo>
                  <a:lnTo>
                    <a:pt x="1266" y="224"/>
                  </a:lnTo>
                  <a:lnTo>
                    <a:pt x="1268" y="227"/>
                  </a:lnTo>
                  <a:lnTo>
                    <a:pt x="1271" y="229"/>
                  </a:lnTo>
                  <a:lnTo>
                    <a:pt x="1271" y="234"/>
                  </a:lnTo>
                  <a:lnTo>
                    <a:pt x="1273" y="237"/>
                  </a:lnTo>
                  <a:lnTo>
                    <a:pt x="1273" y="240"/>
                  </a:lnTo>
                  <a:lnTo>
                    <a:pt x="1273" y="245"/>
                  </a:lnTo>
                  <a:lnTo>
                    <a:pt x="1273" y="252"/>
                  </a:lnTo>
                  <a:lnTo>
                    <a:pt x="1273" y="257"/>
                  </a:lnTo>
                  <a:lnTo>
                    <a:pt x="1276" y="262"/>
                  </a:lnTo>
                  <a:lnTo>
                    <a:pt x="1281" y="265"/>
                  </a:lnTo>
                  <a:lnTo>
                    <a:pt x="1283" y="267"/>
                  </a:lnTo>
                  <a:lnTo>
                    <a:pt x="1288" y="270"/>
                  </a:lnTo>
                  <a:lnTo>
                    <a:pt x="1291" y="270"/>
                  </a:lnTo>
                  <a:lnTo>
                    <a:pt x="1296" y="270"/>
                  </a:lnTo>
                  <a:lnTo>
                    <a:pt x="1301" y="272"/>
                  </a:lnTo>
                  <a:lnTo>
                    <a:pt x="1306" y="272"/>
                  </a:lnTo>
                  <a:lnTo>
                    <a:pt x="1311" y="270"/>
                  </a:lnTo>
                  <a:lnTo>
                    <a:pt x="1313" y="270"/>
                  </a:lnTo>
                  <a:lnTo>
                    <a:pt x="1319" y="270"/>
                  </a:lnTo>
                  <a:lnTo>
                    <a:pt x="1321" y="267"/>
                  </a:lnTo>
                  <a:lnTo>
                    <a:pt x="1324" y="267"/>
                  </a:lnTo>
                  <a:lnTo>
                    <a:pt x="1329" y="267"/>
                  </a:lnTo>
                  <a:lnTo>
                    <a:pt x="1331" y="267"/>
                  </a:lnTo>
                  <a:lnTo>
                    <a:pt x="1336" y="267"/>
                  </a:lnTo>
                  <a:lnTo>
                    <a:pt x="1341" y="265"/>
                  </a:lnTo>
                  <a:lnTo>
                    <a:pt x="1344" y="265"/>
                  </a:lnTo>
                  <a:lnTo>
                    <a:pt x="1346" y="265"/>
                  </a:lnTo>
                  <a:lnTo>
                    <a:pt x="1349" y="260"/>
                  </a:lnTo>
                  <a:lnTo>
                    <a:pt x="1351" y="260"/>
                  </a:lnTo>
                  <a:lnTo>
                    <a:pt x="1354" y="260"/>
                  </a:lnTo>
                  <a:lnTo>
                    <a:pt x="1359" y="262"/>
                  </a:lnTo>
                  <a:lnTo>
                    <a:pt x="1364" y="262"/>
                  </a:lnTo>
                  <a:lnTo>
                    <a:pt x="1366" y="260"/>
                  </a:lnTo>
                  <a:lnTo>
                    <a:pt x="1371" y="260"/>
                  </a:lnTo>
                  <a:lnTo>
                    <a:pt x="1374" y="255"/>
                  </a:lnTo>
                  <a:lnTo>
                    <a:pt x="1379" y="252"/>
                  </a:lnTo>
                  <a:lnTo>
                    <a:pt x="1379" y="250"/>
                  </a:lnTo>
                  <a:lnTo>
                    <a:pt x="1379" y="245"/>
                  </a:lnTo>
                  <a:lnTo>
                    <a:pt x="1379" y="240"/>
                  </a:lnTo>
                  <a:lnTo>
                    <a:pt x="1377" y="234"/>
                  </a:lnTo>
                  <a:lnTo>
                    <a:pt x="1374" y="232"/>
                  </a:lnTo>
                  <a:lnTo>
                    <a:pt x="1371" y="229"/>
                  </a:lnTo>
                  <a:lnTo>
                    <a:pt x="1366" y="227"/>
                  </a:lnTo>
                  <a:lnTo>
                    <a:pt x="1361" y="224"/>
                  </a:lnTo>
                  <a:lnTo>
                    <a:pt x="1356" y="224"/>
                  </a:lnTo>
                  <a:lnTo>
                    <a:pt x="1354" y="222"/>
                  </a:lnTo>
                  <a:lnTo>
                    <a:pt x="1344" y="224"/>
                  </a:lnTo>
                  <a:lnTo>
                    <a:pt x="1341" y="224"/>
                  </a:lnTo>
                  <a:lnTo>
                    <a:pt x="1336" y="229"/>
                  </a:lnTo>
                  <a:lnTo>
                    <a:pt x="1334" y="232"/>
                  </a:lnTo>
                  <a:lnTo>
                    <a:pt x="1331" y="234"/>
                  </a:lnTo>
                  <a:lnTo>
                    <a:pt x="1326" y="240"/>
                  </a:lnTo>
                  <a:lnTo>
                    <a:pt x="1324" y="240"/>
                  </a:lnTo>
                  <a:lnTo>
                    <a:pt x="1321" y="240"/>
                  </a:lnTo>
                  <a:lnTo>
                    <a:pt x="1313" y="240"/>
                  </a:lnTo>
                  <a:lnTo>
                    <a:pt x="1306" y="240"/>
                  </a:lnTo>
                  <a:lnTo>
                    <a:pt x="1301" y="240"/>
                  </a:lnTo>
                  <a:lnTo>
                    <a:pt x="1298" y="237"/>
                  </a:lnTo>
                  <a:lnTo>
                    <a:pt x="1296" y="232"/>
                  </a:lnTo>
                  <a:lnTo>
                    <a:pt x="1293" y="227"/>
                  </a:lnTo>
                  <a:lnTo>
                    <a:pt x="1288" y="224"/>
                  </a:lnTo>
                  <a:lnTo>
                    <a:pt x="1286" y="217"/>
                  </a:lnTo>
                  <a:lnTo>
                    <a:pt x="1283" y="214"/>
                  </a:lnTo>
                  <a:lnTo>
                    <a:pt x="1283" y="212"/>
                  </a:lnTo>
                  <a:lnTo>
                    <a:pt x="1281" y="212"/>
                  </a:lnTo>
                  <a:lnTo>
                    <a:pt x="1238" y="219"/>
                  </a:lnTo>
                  <a:close/>
                  <a:moveTo>
                    <a:pt x="1271" y="217"/>
                  </a:moveTo>
                  <a:lnTo>
                    <a:pt x="1268" y="217"/>
                  </a:lnTo>
                  <a:lnTo>
                    <a:pt x="1271" y="217"/>
                  </a:lnTo>
                  <a:close/>
                  <a:moveTo>
                    <a:pt x="1404" y="1810"/>
                  </a:moveTo>
                  <a:lnTo>
                    <a:pt x="1404" y="1810"/>
                  </a:lnTo>
                  <a:lnTo>
                    <a:pt x="1404" y="1803"/>
                  </a:lnTo>
                  <a:lnTo>
                    <a:pt x="1402" y="1798"/>
                  </a:lnTo>
                  <a:lnTo>
                    <a:pt x="1399" y="1795"/>
                  </a:lnTo>
                  <a:lnTo>
                    <a:pt x="1404" y="1737"/>
                  </a:lnTo>
                  <a:lnTo>
                    <a:pt x="1377" y="1732"/>
                  </a:lnTo>
                  <a:lnTo>
                    <a:pt x="1346" y="1727"/>
                  </a:lnTo>
                  <a:lnTo>
                    <a:pt x="1339" y="1725"/>
                  </a:lnTo>
                  <a:lnTo>
                    <a:pt x="1331" y="1722"/>
                  </a:lnTo>
                  <a:lnTo>
                    <a:pt x="1329" y="1722"/>
                  </a:lnTo>
                  <a:lnTo>
                    <a:pt x="1316" y="1720"/>
                  </a:lnTo>
                  <a:lnTo>
                    <a:pt x="1308" y="1717"/>
                  </a:lnTo>
                  <a:lnTo>
                    <a:pt x="1308" y="1694"/>
                  </a:lnTo>
                  <a:lnTo>
                    <a:pt x="1303" y="1689"/>
                  </a:lnTo>
                  <a:lnTo>
                    <a:pt x="1321" y="1679"/>
                  </a:lnTo>
                  <a:lnTo>
                    <a:pt x="1336" y="1669"/>
                  </a:lnTo>
                  <a:lnTo>
                    <a:pt x="1346" y="1629"/>
                  </a:lnTo>
                  <a:lnTo>
                    <a:pt x="1283" y="1639"/>
                  </a:lnTo>
                  <a:lnTo>
                    <a:pt x="1258" y="1674"/>
                  </a:lnTo>
                  <a:lnTo>
                    <a:pt x="1215" y="1679"/>
                  </a:lnTo>
                  <a:lnTo>
                    <a:pt x="1172" y="1629"/>
                  </a:lnTo>
                  <a:lnTo>
                    <a:pt x="1167" y="1561"/>
                  </a:lnTo>
                  <a:lnTo>
                    <a:pt x="1180" y="1546"/>
                  </a:lnTo>
                  <a:lnTo>
                    <a:pt x="1177" y="1546"/>
                  </a:lnTo>
                  <a:lnTo>
                    <a:pt x="1177" y="1510"/>
                  </a:lnTo>
                  <a:lnTo>
                    <a:pt x="1200" y="1490"/>
                  </a:lnTo>
                  <a:lnTo>
                    <a:pt x="1215" y="1472"/>
                  </a:lnTo>
                  <a:lnTo>
                    <a:pt x="1268" y="1477"/>
                  </a:lnTo>
                  <a:lnTo>
                    <a:pt x="1298" y="1477"/>
                  </a:lnTo>
                  <a:lnTo>
                    <a:pt x="1341" y="1467"/>
                  </a:lnTo>
                  <a:lnTo>
                    <a:pt x="1366" y="1467"/>
                  </a:lnTo>
                  <a:lnTo>
                    <a:pt x="1392" y="1462"/>
                  </a:lnTo>
                  <a:lnTo>
                    <a:pt x="1399" y="1490"/>
                  </a:lnTo>
                  <a:lnTo>
                    <a:pt x="1409" y="1525"/>
                  </a:lnTo>
                  <a:lnTo>
                    <a:pt x="1442" y="1556"/>
                  </a:lnTo>
                  <a:lnTo>
                    <a:pt x="1457" y="1561"/>
                  </a:lnTo>
                  <a:lnTo>
                    <a:pt x="1452" y="1510"/>
                  </a:lnTo>
                  <a:lnTo>
                    <a:pt x="1429" y="1452"/>
                  </a:lnTo>
                  <a:lnTo>
                    <a:pt x="1457" y="1422"/>
                  </a:lnTo>
                  <a:lnTo>
                    <a:pt x="1482" y="1412"/>
                  </a:lnTo>
                  <a:lnTo>
                    <a:pt x="1530" y="1367"/>
                  </a:lnTo>
                  <a:lnTo>
                    <a:pt x="1525" y="1334"/>
                  </a:lnTo>
                  <a:lnTo>
                    <a:pt x="1520" y="1304"/>
                  </a:lnTo>
                  <a:lnTo>
                    <a:pt x="1535" y="1314"/>
                  </a:lnTo>
                  <a:lnTo>
                    <a:pt x="1540" y="1309"/>
                  </a:lnTo>
                  <a:lnTo>
                    <a:pt x="1535" y="1288"/>
                  </a:lnTo>
                  <a:lnTo>
                    <a:pt x="1545" y="1288"/>
                  </a:lnTo>
                  <a:lnTo>
                    <a:pt x="1561" y="1283"/>
                  </a:lnTo>
                  <a:lnTo>
                    <a:pt x="1571" y="1258"/>
                  </a:lnTo>
                  <a:lnTo>
                    <a:pt x="1593" y="1253"/>
                  </a:lnTo>
                  <a:lnTo>
                    <a:pt x="1624" y="1235"/>
                  </a:lnTo>
                  <a:lnTo>
                    <a:pt x="1624" y="1195"/>
                  </a:lnTo>
                  <a:lnTo>
                    <a:pt x="1677" y="1170"/>
                  </a:lnTo>
                  <a:lnTo>
                    <a:pt x="1666" y="1117"/>
                  </a:lnTo>
                  <a:lnTo>
                    <a:pt x="1677" y="1170"/>
                  </a:lnTo>
                  <a:lnTo>
                    <a:pt x="1699" y="1155"/>
                  </a:lnTo>
                  <a:lnTo>
                    <a:pt x="1714" y="1160"/>
                  </a:lnTo>
                  <a:lnTo>
                    <a:pt x="1704" y="1175"/>
                  </a:lnTo>
                  <a:lnTo>
                    <a:pt x="1714" y="1195"/>
                  </a:lnTo>
                  <a:lnTo>
                    <a:pt x="1760" y="1160"/>
                  </a:lnTo>
                  <a:lnTo>
                    <a:pt x="1777" y="1137"/>
                  </a:lnTo>
                  <a:lnTo>
                    <a:pt x="1729" y="1132"/>
                  </a:lnTo>
                  <a:lnTo>
                    <a:pt x="1709" y="1102"/>
                  </a:lnTo>
                  <a:lnTo>
                    <a:pt x="1724" y="1087"/>
                  </a:lnTo>
                  <a:lnTo>
                    <a:pt x="1729" y="1067"/>
                  </a:lnTo>
                  <a:lnTo>
                    <a:pt x="1656" y="1082"/>
                  </a:lnTo>
                  <a:lnTo>
                    <a:pt x="1619" y="1112"/>
                  </a:lnTo>
                  <a:lnTo>
                    <a:pt x="1636" y="1077"/>
                  </a:lnTo>
                  <a:lnTo>
                    <a:pt x="1671" y="1056"/>
                  </a:lnTo>
                  <a:lnTo>
                    <a:pt x="1692" y="1034"/>
                  </a:lnTo>
                  <a:lnTo>
                    <a:pt x="1755" y="1039"/>
                  </a:lnTo>
                  <a:lnTo>
                    <a:pt x="1803" y="1034"/>
                  </a:lnTo>
                  <a:lnTo>
                    <a:pt x="1840" y="1009"/>
                  </a:lnTo>
                  <a:lnTo>
                    <a:pt x="1866" y="988"/>
                  </a:lnTo>
                  <a:lnTo>
                    <a:pt x="1845" y="938"/>
                  </a:lnTo>
                  <a:lnTo>
                    <a:pt x="1840" y="910"/>
                  </a:lnTo>
                  <a:lnTo>
                    <a:pt x="1772" y="875"/>
                  </a:lnTo>
                  <a:lnTo>
                    <a:pt x="1772" y="855"/>
                  </a:lnTo>
                  <a:lnTo>
                    <a:pt x="1714" y="746"/>
                  </a:lnTo>
                  <a:lnTo>
                    <a:pt x="1699" y="792"/>
                  </a:lnTo>
                  <a:lnTo>
                    <a:pt x="1661" y="802"/>
                  </a:lnTo>
                  <a:lnTo>
                    <a:pt x="1651" y="792"/>
                  </a:lnTo>
                  <a:lnTo>
                    <a:pt x="1636" y="792"/>
                  </a:lnTo>
                  <a:lnTo>
                    <a:pt x="1636" y="719"/>
                  </a:lnTo>
                  <a:lnTo>
                    <a:pt x="1603" y="714"/>
                  </a:lnTo>
                  <a:lnTo>
                    <a:pt x="1578" y="678"/>
                  </a:lnTo>
                  <a:lnTo>
                    <a:pt x="1550" y="683"/>
                  </a:lnTo>
                  <a:lnTo>
                    <a:pt x="1520" y="673"/>
                  </a:lnTo>
                  <a:lnTo>
                    <a:pt x="1500" y="678"/>
                  </a:lnTo>
                  <a:lnTo>
                    <a:pt x="1500" y="703"/>
                  </a:lnTo>
                  <a:lnTo>
                    <a:pt x="1500" y="731"/>
                  </a:lnTo>
                  <a:lnTo>
                    <a:pt x="1495" y="787"/>
                  </a:lnTo>
                  <a:lnTo>
                    <a:pt x="1487" y="807"/>
                  </a:lnTo>
                  <a:lnTo>
                    <a:pt x="1520" y="870"/>
                  </a:lnTo>
                  <a:lnTo>
                    <a:pt x="1467" y="915"/>
                  </a:lnTo>
                  <a:lnTo>
                    <a:pt x="1477" y="993"/>
                  </a:lnTo>
                  <a:lnTo>
                    <a:pt x="1457" y="1009"/>
                  </a:lnTo>
                  <a:lnTo>
                    <a:pt x="1437" y="998"/>
                  </a:lnTo>
                  <a:lnTo>
                    <a:pt x="1424" y="905"/>
                  </a:lnTo>
                  <a:lnTo>
                    <a:pt x="1371" y="900"/>
                  </a:lnTo>
                  <a:lnTo>
                    <a:pt x="1273" y="845"/>
                  </a:lnTo>
                  <a:lnTo>
                    <a:pt x="1253" y="845"/>
                  </a:lnTo>
                  <a:lnTo>
                    <a:pt x="1235" y="797"/>
                  </a:lnTo>
                  <a:lnTo>
                    <a:pt x="1220" y="782"/>
                  </a:lnTo>
                  <a:lnTo>
                    <a:pt x="1263" y="658"/>
                  </a:lnTo>
                  <a:lnTo>
                    <a:pt x="1288" y="630"/>
                  </a:lnTo>
                  <a:lnTo>
                    <a:pt x="1316" y="615"/>
                  </a:lnTo>
                  <a:lnTo>
                    <a:pt x="1331" y="615"/>
                  </a:lnTo>
                  <a:lnTo>
                    <a:pt x="1346" y="565"/>
                  </a:lnTo>
                  <a:lnTo>
                    <a:pt x="1356" y="524"/>
                  </a:lnTo>
                  <a:lnTo>
                    <a:pt x="1409" y="512"/>
                  </a:lnTo>
                  <a:lnTo>
                    <a:pt x="1437" y="492"/>
                  </a:lnTo>
                  <a:lnTo>
                    <a:pt x="1419" y="446"/>
                  </a:lnTo>
                  <a:lnTo>
                    <a:pt x="1432" y="416"/>
                  </a:lnTo>
                  <a:lnTo>
                    <a:pt x="1412" y="393"/>
                  </a:lnTo>
                  <a:lnTo>
                    <a:pt x="1414" y="393"/>
                  </a:lnTo>
                  <a:lnTo>
                    <a:pt x="1417" y="391"/>
                  </a:lnTo>
                  <a:lnTo>
                    <a:pt x="1419" y="388"/>
                  </a:lnTo>
                  <a:lnTo>
                    <a:pt x="1422" y="388"/>
                  </a:lnTo>
                  <a:lnTo>
                    <a:pt x="1424" y="388"/>
                  </a:lnTo>
                  <a:lnTo>
                    <a:pt x="1432" y="388"/>
                  </a:lnTo>
                  <a:lnTo>
                    <a:pt x="1440" y="388"/>
                  </a:lnTo>
                  <a:lnTo>
                    <a:pt x="1442" y="386"/>
                  </a:lnTo>
                  <a:lnTo>
                    <a:pt x="1442" y="383"/>
                  </a:lnTo>
                  <a:lnTo>
                    <a:pt x="1437" y="376"/>
                  </a:lnTo>
                  <a:lnTo>
                    <a:pt x="1437" y="373"/>
                  </a:lnTo>
                  <a:lnTo>
                    <a:pt x="1440" y="373"/>
                  </a:lnTo>
                  <a:lnTo>
                    <a:pt x="1445" y="376"/>
                  </a:lnTo>
                  <a:lnTo>
                    <a:pt x="1452" y="378"/>
                  </a:lnTo>
                  <a:lnTo>
                    <a:pt x="1455" y="381"/>
                  </a:lnTo>
                  <a:lnTo>
                    <a:pt x="1457" y="383"/>
                  </a:lnTo>
                  <a:lnTo>
                    <a:pt x="1462" y="386"/>
                  </a:lnTo>
                  <a:lnTo>
                    <a:pt x="1467" y="388"/>
                  </a:lnTo>
                  <a:lnTo>
                    <a:pt x="1472" y="393"/>
                  </a:lnTo>
                  <a:lnTo>
                    <a:pt x="1477" y="396"/>
                  </a:lnTo>
                  <a:lnTo>
                    <a:pt x="1485" y="398"/>
                  </a:lnTo>
                  <a:lnTo>
                    <a:pt x="1490" y="401"/>
                  </a:lnTo>
                  <a:lnTo>
                    <a:pt x="1495" y="403"/>
                  </a:lnTo>
                  <a:lnTo>
                    <a:pt x="1500" y="406"/>
                  </a:lnTo>
                  <a:lnTo>
                    <a:pt x="1505" y="406"/>
                  </a:lnTo>
                  <a:lnTo>
                    <a:pt x="1510" y="411"/>
                  </a:lnTo>
                  <a:lnTo>
                    <a:pt x="1515" y="413"/>
                  </a:lnTo>
                  <a:lnTo>
                    <a:pt x="1523" y="419"/>
                  </a:lnTo>
                  <a:lnTo>
                    <a:pt x="1528" y="424"/>
                  </a:lnTo>
                  <a:lnTo>
                    <a:pt x="1535" y="431"/>
                  </a:lnTo>
                  <a:lnTo>
                    <a:pt x="1543" y="441"/>
                  </a:lnTo>
                  <a:lnTo>
                    <a:pt x="1545" y="449"/>
                  </a:lnTo>
                  <a:lnTo>
                    <a:pt x="1538" y="456"/>
                  </a:lnTo>
                  <a:lnTo>
                    <a:pt x="1530" y="466"/>
                  </a:lnTo>
                  <a:lnTo>
                    <a:pt x="1528" y="477"/>
                  </a:lnTo>
                  <a:lnTo>
                    <a:pt x="1530" y="479"/>
                  </a:lnTo>
                  <a:lnTo>
                    <a:pt x="1538" y="482"/>
                  </a:lnTo>
                  <a:lnTo>
                    <a:pt x="1543" y="487"/>
                  </a:lnTo>
                  <a:lnTo>
                    <a:pt x="1545" y="489"/>
                  </a:lnTo>
                  <a:lnTo>
                    <a:pt x="1543" y="494"/>
                  </a:lnTo>
                  <a:lnTo>
                    <a:pt x="1535" y="499"/>
                  </a:lnTo>
                  <a:lnTo>
                    <a:pt x="1528" y="504"/>
                  </a:lnTo>
                  <a:lnTo>
                    <a:pt x="1525" y="509"/>
                  </a:lnTo>
                  <a:lnTo>
                    <a:pt x="1520" y="509"/>
                  </a:lnTo>
                  <a:lnTo>
                    <a:pt x="1518" y="509"/>
                  </a:lnTo>
                  <a:lnTo>
                    <a:pt x="1515" y="509"/>
                  </a:lnTo>
                  <a:lnTo>
                    <a:pt x="1513" y="509"/>
                  </a:lnTo>
                  <a:lnTo>
                    <a:pt x="1508" y="512"/>
                  </a:lnTo>
                  <a:lnTo>
                    <a:pt x="1500" y="514"/>
                  </a:lnTo>
                  <a:lnTo>
                    <a:pt x="1495" y="519"/>
                  </a:lnTo>
                  <a:lnTo>
                    <a:pt x="1492" y="522"/>
                  </a:lnTo>
                  <a:lnTo>
                    <a:pt x="1492" y="524"/>
                  </a:lnTo>
                  <a:lnTo>
                    <a:pt x="1495" y="527"/>
                  </a:lnTo>
                  <a:lnTo>
                    <a:pt x="1498" y="529"/>
                  </a:lnTo>
                  <a:lnTo>
                    <a:pt x="1500" y="532"/>
                  </a:lnTo>
                  <a:lnTo>
                    <a:pt x="1503" y="535"/>
                  </a:lnTo>
                  <a:lnTo>
                    <a:pt x="1508" y="537"/>
                  </a:lnTo>
                  <a:lnTo>
                    <a:pt x="1513" y="540"/>
                  </a:lnTo>
                  <a:lnTo>
                    <a:pt x="1518" y="540"/>
                  </a:lnTo>
                  <a:lnTo>
                    <a:pt x="1523" y="537"/>
                  </a:lnTo>
                  <a:lnTo>
                    <a:pt x="1528" y="532"/>
                  </a:lnTo>
                  <a:lnTo>
                    <a:pt x="1530" y="529"/>
                  </a:lnTo>
                  <a:lnTo>
                    <a:pt x="1535" y="527"/>
                  </a:lnTo>
                  <a:lnTo>
                    <a:pt x="1540" y="527"/>
                  </a:lnTo>
                  <a:lnTo>
                    <a:pt x="1548" y="524"/>
                  </a:lnTo>
                  <a:lnTo>
                    <a:pt x="1556" y="519"/>
                  </a:lnTo>
                  <a:lnTo>
                    <a:pt x="1561" y="519"/>
                  </a:lnTo>
                  <a:lnTo>
                    <a:pt x="1563" y="519"/>
                  </a:lnTo>
                  <a:lnTo>
                    <a:pt x="1566" y="522"/>
                  </a:lnTo>
                  <a:lnTo>
                    <a:pt x="1568" y="524"/>
                  </a:lnTo>
                  <a:lnTo>
                    <a:pt x="1571" y="524"/>
                  </a:lnTo>
                  <a:lnTo>
                    <a:pt x="1573" y="527"/>
                  </a:lnTo>
                  <a:lnTo>
                    <a:pt x="1576" y="529"/>
                  </a:lnTo>
                  <a:lnTo>
                    <a:pt x="1578" y="529"/>
                  </a:lnTo>
                  <a:lnTo>
                    <a:pt x="1583" y="532"/>
                  </a:lnTo>
                  <a:lnTo>
                    <a:pt x="1588" y="532"/>
                  </a:lnTo>
                  <a:lnTo>
                    <a:pt x="1593" y="535"/>
                  </a:lnTo>
                  <a:lnTo>
                    <a:pt x="1603" y="535"/>
                  </a:lnTo>
                  <a:lnTo>
                    <a:pt x="1606" y="540"/>
                  </a:lnTo>
                  <a:lnTo>
                    <a:pt x="1606" y="542"/>
                  </a:lnTo>
                  <a:lnTo>
                    <a:pt x="1608" y="547"/>
                  </a:lnTo>
                  <a:lnTo>
                    <a:pt x="1611" y="547"/>
                  </a:lnTo>
                  <a:lnTo>
                    <a:pt x="1616" y="550"/>
                  </a:lnTo>
                  <a:lnTo>
                    <a:pt x="1619" y="550"/>
                  </a:lnTo>
                  <a:lnTo>
                    <a:pt x="1621" y="550"/>
                  </a:lnTo>
                  <a:lnTo>
                    <a:pt x="1624" y="547"/>
                  </a:lnTo>
                  <a:lnTo>
                    <a:pt x="1629" y="547"/>
                  </a:lnTo>
                  <a:lnTo>
                    <a:pt x="1631" y="547"/>
                  </a:lnTo>
                  <a:lnTo>
                    <a:pt x="1634" y="547"/>
                  </a:lnTo>
                  <a:lnTo>
                    <a:pt x="1639" y="547"/>
                  </a:lnTo>
                  <a:lnTo>
                    <a:pt x="1641" y="547"/>
                  </a:lnTo>
                  <a:lnTo>
                    <a:pt x="1644" y="550"/>
                  </a:lnTo>
                  <a:lnTo>
                    <a:pt x="1649" y="550"/>
                  </a:lnTo>
                  <a:lnTo>
                    <a:pt x="1651" y="550"/>
                  </a:lnTo>
                  <a:lnTo>
                    <a:pt x="1654" y="547"/>
                  </a:lnTo>
                  <a:lnTo>
                    <a:pt x="1659" y="547"/>
                  </a:lnTo>
                  <a:lnTo>
                    <a:pt x="1664" y="547"/>
                  </a:lnTo>
                  <a:lnTo>
                    <a:pt x="1669" y="545"/>
                  </a:lnTo>
                  <a:lnTo>
                    <a:pt x="1671" y="545"/>
                  </a:lnTo>
                  <a:lnTo>
                    <a:pt x="1674" y="545"/>
                  </a:lnTo>
                  <a:lnTo>
                    <a:pt x="1679" y="545"/>
                  </a:lnTo>
                  <a:lnTo>
                    <a:pt x="1682" y="545"/>
                  </a:lnTo>
                  <a:lnTo>
                    <a:pt x="1684" y="545"/>
                  </a:lnTo>
                  <a:lnTo>
                    <a:pt x="1687" y="545"/>
                  </a:lnTo>
                  <a:lnTo>
                    <a:pt x="1692" y="545"/>
                  </a:lnTo>
                  <a:lnTo>
                    <a:pt x="1697" y="545"/>
                  </a:lnTo>
                  <a:lnTo>
                    <a:pt x="1699" y="542"/>
                  </a:lnTo>
                  <a:lnTo>
                    <a:pt x="1697" y="540"/>
                  </a:lnTo>
                  <a:lnTo>
                    <a:pt x="1697" y="537"/>
                  </a:lnTo>
                  <a:lnTo>
                    <a:pt x="1692" y="535"/>
                  </a:lnTo>
                  <a:lnTo>
                    <a:pt x="1687" y="532"/>
                  </a:lnTo>
                  <a:lnTo>
                    <a:pt x="1679" y="529"/>
                  </a:lnTo>
                  <a:lnTo>
                    <a:pt x="1677" y="529"/>
                  </a:lnTo>
                  <a:lnTo>
                    <a:pt x="1674" y="527"/>
                  </a:lnTo>
                  <a:lnTo>
                    <a:pt x="1671" y="524"/>
                  </a:lnTo>
                  <a:lnTo>
                    <a:pt x="1669" y="524"/>
                  </a:lnTo>
                  <a:lnTo>
                    <a:pt x="1666" y="524"/>
                  </a:lnTo>
                  <a:lnTo>
                    <a:pt x="1664" y="524"/>
                  </a:lnTo>
                  <a:lnTo>
                    <a:pt x="1661" y="524"/>
                  </a:lnTo>
                  <a:lnTo>
                    <a:pt x="1656" y="522"/>
                  </a:lnTo>
                  <a:lnTo>
                    <a:pt x="1651" y="519"/>
                  </a:lnTo>
                  <a:lnTo>
                    <a:pt x="1641" y="517"/>
                  </a:lnTo>
                  <a:lnTo>
                    <a:pt x="1636" y="514"/>
                  </a:lnTo>
                  <a:lnTo>
                    <a:pt x="1634" y="512"/>
                  </a:lnTo>
                  <a:lnTo>
                    <a:pt x="1634" y="509"/>
                  </a:lnTo>
                  <a:lnTo>
                    <a:pt x="1636" y="509"/>
                  </a:lnTo>
                  <a:lnTo>
                    <a:pt x="1639" y="509"/>
                  </a:lnTo>
                  <a:lnTo>
                    <a:pt x="1644" y="509"/>
                  </a:lnTo>
                  <a:lnTo>
                    <a:pt x="1649" y="512"/>
                  </a:lnTo>
                  <a:lnTo>
                    <a:pt x="1651" y="512"/>
                  </a:lnTo>
                  <a:lnTo>
                    <a:pt x="1656" y="514"/>
                  </a:lnTo>
                  <a:lnTo>
                    <a:pt x="1659" y="514"/>
                  </a:lnTo>
                  <a:lnTo>
                    <a:pt x="1664" y="514"/>
                  </a:lnTo>
                  <a:lnTo>
                    <a:pt x="1666" y="519"/>
                  </a:lnTo>
                  <a:lnTo>
                    <a:pt x="1671" y="519"/>
                  </a:lnTo>
                  <a:lnTo>
                    <a:pt x="1677" y="517"/>
                  </a:lnTo>
                  <a:lnTo>
                    <a:pt x="1687" y="514"/>
                  </a:lnTo>
                  <a:lnTo>
                    <a:pt x="1694" y="514"/>
                  </a:lnTo>
                  <a:lnTo>
                    <a:pt x="1697" y="519"/>
                  </a:lnTo>
                  <a:lnTo>
                    <a:pt x="1699" y="519"/>
                  </a:lnTo>
                  <a:lnTo>
                    <a:pt x="1704" y="522"/>
                  </a:lnTo>
                  <a:lnTo>
                    <a:pt x="1707" y="524"/>
                  </a:lnTo>
                  <a:lnTo>
                    <a:pt x="1707" y="522"/>
                  </a:lnTo>
                  <a:lnTo>
                    <a:pt x="1704" y="519"/>
                  </a:lnTo>
                  <a:lnTo>
                    <a:pt x="1702" y="514"/>
                  </a:lnTo>
                  <a:lnTo>
                    <a:pt x="1699" y="514"/>
                  </a:lnTo>
                  <a:lnTo>
                    <a:pt x="1699" y="509"/>
                  </a:lnTo>
                  <a:lnTo>
                    <a:pt x="1697" y="507"/>
                  </a:lnTo>
                  <a:lnTo>
                    <a:pt x="1694" y="502"/>
                  </a:lnTo>
                  <a:lnTo>
                    <a:pt x="1692" y="494"/>
                  </a:lnTo>
                  <a:lnTo>
                    <a:pt x="1692" y="492"/>
                  </a:lnTo>
                  <a:lnTo>
                    <a:pt x="1692" y="489"/>
                  </a:lnTo>
                  <a:lnTo>
                    <a:pt x="1692" y="487"/>
                  </a:lnTo>
                  <a:lnTo>
                    <a:pt x="1689" y="482"/>
                  </a:lnTo>
                  <a:lnTo>
                    <a:pt x="1682" y="479"/>
                  </a:lnTo>
                  <a:lnTo>
                    <a:pt x="1677" y="479"/>
                  </a:lnTo>
                  <a:lnTo>
                    <a:pt x="1671" y="477"/>
                  </a:lnTo>
                  <a:lnTo>
                    <a:pt x="1669" y="471"/>
                  </a:lnTo>
                  <a:lnTo>
                    <a:pt x="1664" y="469"/>
                  </a:lnTo>
                  <a:lnTo>
                    <a:pt x="1659" y="469"/>
                  </a:lnTo>
                  <a:lnTo>
                    <a:pt x="1651" y="466"/>
                  </a:lnTo>
                  <a:lnTo>
                    <a:pt x="1646" y="466"/>
                  </a:lnTo>
                  <a:lnTo>
                    <a:pt x="1644" y="466"/>
                  </a:lnTo>
                  <a:lnTo>
                    <a:pt x="1639" y="464"/>
                  </a:lnTo>
                  <a:lnTo>
                    <a:pt x="1634" y="461"/>
                  </a:lnTo>
                  <a:lnTo>
                    <a:pt x="1631" y="459"/>
                  </a:lnTo>
                  <a:lnTo>
                    <a:pt x="1626" y="459"/>
                  </a:lnTo>
                  <a:lnTo>
                    <a:pt x="1624" y="454"/>
                  </a:lnTo>
                  <a:lnTo>
                    <a:pt x="1621" y="451"/>
                  </a:lnTo>
                  <a:lnTo>
                    <a:pt x="1616" y="446"/>
                  </a:lnTo>
                  <a:lnTo>
                    <a:pt x="1614" y="441"/>
                  </a:lnTo>
                  <a:lnTo>
                    <a:pt x="1611" y="439"/>
                  </a:lnTo>
                  <a:lnTo>
                    <a:pt x="1611" y="434"/>
                  </a:lnTo>
                  <a:lnTo>
                    <a:pt x="1614" y="431"/>
                  </a:lnTo>
                  <a:lnTo>
                    <a:pt x="1619" y="431"/>
                  </a:lnTo>
                  <a:lnTo>
                    <a:pt x="1624" y="431"/>
                  </a:lnTo>
                  <a:lnTo>
                    <a:pt x="1631" y="434"/>
                  </a:lnTo>
                  <a:lnTo>
                    <a:pt x="1636" y="436"/>
                  </a:lnTo>
                  <a:lnTo>
                    <a:pt x="1639" y="436"/>
                  </a:lnTo>
                  <a:lnTo>
                    <a:pt x="1644" y="439"/>
                  </a:lnTo>
                  <a:lnTo>
                    <a:pt x="1649" y="441"/>
                  </a:lnTo>
                  <a:lnTo>
                    <a:pt x="1654" y="444"/>
                  </a:lnTo>
                  <a:lnTo>
                    <a:pt x="1659" y="446"/>
                  </a:lnTo>
                  <a:lnTo>
                    <a:pt x="1664" y="449"/>
                  </a:lnTo>
                  <a:lnTo>
                    <a:pt x="1669" y="451"/>
                  </a:lnTo>
                  <a:lnTo>
                    <a:pt x="1671" y="451"/>
                  </a:lnTo>
                  <a:lnTo>
                    <a:pt x="1677" y="449"/>
                  </a:lnTo>
                  <a:lnTo>
                    <a:pt x="1679" y="444"/>
                  </a:lnTo>
                  <a:lnTo>
                    <a:pt x="1679" y="441"/>
                  </a:lnTo>
                  <a:lnTo>
                    <a:pt x="1677" y="436"/>
                  </a:lnTo>
                  <a:lnTo>
                    <a:pt x="1671" y="434"/>
                  </a:lnTo>
                  <a:lnTo>
                    <a:pt x="1666" y="431"/>
                  </a:lnTo>
                  <a:lnTo>
                    <a:pt x="1666" y="429"/>
                  </a:lnTo>
                  <a:lnTo>
                    <a:pt x="1666" y="426"/>
                  </a:lnTo>
                  <a:lnTo>
                    <a:pt x="1669" y="424"/>
                  </a:lnTo>
                  <a:lnTo>
                    <a:pt x="1671" y="424"/>
                  </a:lnTo>
                  <a:lnTo>
                    <a:pt x="1674" y="421"/>
                  </a:lnTo>
                  <a:lnTo>
                    <a:pt x="1677" y="419"/>
                  </a:lnTo>
                  <a:lnTo>
                    <a:pt x="1677" y="416"/>
                  </a:lnTo>
                  <a:lnTo>
                    <a:pt x="1674" y="413"/>
                  </a:lnTo>
                  <a:lnTo>
                    <a:pt x="1671" y="408"/>
                  </a:lnTo>
                  <a:lnTo>
                    <a:pt x="1669" y="406"/>
                  </a:lnTo>
                  <a:lnTo>
                    <a:pt x="1664" y="406"/>
                  </a:lnTo>
                  <a:lnTo>
                    <a:pt x="1664" y="403"/>
                  </a:lnTo>
                  <a:lnTo>
                    <a:pt x="1669" y="401"/>
                  </a:lnTo>
                  <a:lnTo>
                    <a:pt x="1674" y="398"/>
                  </a:lnTo>
                  <a:lnTo>
                    <a:pt x="1677" y="393"/>
                  </a:lnTo>
                  <a:lnTo>
                    <a:pt x="1674" y="391"/>
                  </a:lnTo>
                  <a:lnTo>
                    <a:pt x="1669" y="388"/>
                  </a:lnTo>
                  <a:lnTo>
                    <a:pt x="1661" y="386"/>
                  </a:lnTo>
                  <a:lnTo>
                    <a:pt x="1654" y="386"/>
                  </a:lnTo>
                  <a:lnTo>
                    <a:pt x="1649" y="386"/>
                  </a:lnTo>
                  <a:lnTo>
                    <a:pt x="1644" y="386"/>
                  </a:lnTo>
                  <a:lnTo>
                    <a:pt x="1639" y="388"/>
                  </a:lnTo>
                  <a:lnTo>
                    <a:pt x="1636" y="388"/>
                  </a:lnTo>
                  <a:lnTo>
                    <a:pt x="1634" y="388"/>
                  </a:lnTo>
                  <a:lnTo>
                    <a:pt x="1631" y="386"/>
                  </a:lnTo>
                  <a:lnTo>
                    <a:pt x="1634" y="383"/>
                  </a:lnTo>
                  <a:lnTo>
                    <a:pt x="1631" y="383"/>
                  </a:lnTo>
                  <a:lnTo>
                    <a:pt x="1629" y="381"/>
                  </a:lnTo>
                  <a:lnTo>
                    <a:pt x="1626" y="381"/>
                  </a:lnTo>
                  <a:lnTo>
                    <a:pt x="1621" y="381"/>
                  </a:lnTo>
                  <a:lnTo>
                    <a:pt x="1616" y="381"/>
                  </a:lnTo>
                  <a:lnTo>
                    <a:pt x="1611" y="378"/>
                  </a:lnTo>
                  <a:lnTo>
                    <a:pt x="1606" y="378"/>
                  </a:lnTo>
                  <a:lnTo>
                    <a:pt x="1603" y="378"/>
                  </a:lnTo>
                  <a:lnTo>
                    <a:pt x="1598" y="376"/>
                  </a:lnTo>
                  <a:lnTo>
                    <a:pt x="1598" y="378"/>
                  </a:lnTo>
                  <a:lnTo>
                    <a:pt x="1601" y="381"/>
                  </a:lnTo>
                  <a:lnTo>
                    <a:pt x="1603" y="386"/>
                  </a:lnTo>
                  <a:lnTo>
                    <a:pt x="1601" y="386"/>
                  </a:lnTo>
                  <a:lnTo>
                    <a:pt x="1596" y="386"/>
                  </a:lnTo>
                  <a:lnTo>
                    <a:pt x="1591" y="381"/>
                  </a:lnTo>
                  <a:lnTo>
                    <a:pt x="1583" y="376"/>
                  </a:lnTo>
                  <a:lnTo>
                    <a:pt x="1578" y="373"/>
                  </a:lnTo>
                  <a:lnTo>
                    <a:pt x="1576" y="373"/>
                  </a:lnTo>
                  <a:lnTo>
                    <a:pt x="1568" y="376"/>
                  </a:lnTo>
                  <a:lnTo>
                    <a:pt x="1563" y="373"/>
                  </a:lnTo>
                  <a:lnTo>
                    <a:pt x="1558" y="371"/>
                  </a:lnTo>
                  <a:lnTo>
                    <a:pt x="1558" y="366"/>
                  </a:lnTo>
                  <a:lnTo>
                    <a:pt x="1561" y="363"/>
                  </a:lnTo>
                  <a:lnTo>
                    <a:pt x="1561" y="361"/>
                  </a:lnTo>
                  <a:lnTo>
                    <a:pt x="1561" y="358"/>
                  </a:lnTo>
                  <a:lnTo>
                    <a:pt x="1563" y="356"/>
                  </a:lnTo>
                  <a:lnTo>
                    <a:pt x="1566" y="356"/>
                  </a:lnTo>
                  <a:lnTo>
                    <a:pt x="1568" y="356"/>
                  </a:lnTo>
                  <a:lnTo>
                    <a:pt x="1568" y="353"/>
                  </a:lnTo>
                  <a:lnTo>
                    <a:pt x="1561" y="350"/>
                  </a:lnTo>
                  <a:lnTo>
                    <a:pt x="1556" y="350"/>
                  </a:lnTo>
                  <a:lnTo>
                    <a:pt x="1553" y="345"/>
                  </a:lnTo>
                  <a:lnTo>
                    <a:pt x="1556" y="343"/>
                  </a:lnTo>
                  <a:lnTo>
                    <a:pt x="1561" y="343"/>
                  </a:lnTo>
                  <a:lnTo>
                    <a:pt x="1558" y="343"/>
                  </a:lnTo>
                  <a:lnTo>
                    <a:pt x="1556" y="340"/>
                  </a:lnTo>
                  <a:lnTo>
                    <a:pt x="1553" y="335"/>
                  </a:lnTo>
                  <a:lnTo>
                    <a:pt x="1548" y="333"/>
                  </a:lnTo>
                  <a:lnTo>
                    <a:pt x="1545" y="333"/>
                  </a:lnTo>
                  <a:lnTo>
                    <a:pt x="1540" y="333"/>
                  </a:lnTo>
                  <a:lnTo>
                    <a:pt x="1538" y="333"/>
                  </a:lnTo>
                  <a:lnTo>
                    <a:pt x="1540" y="330"/>
                  </a:lnTo>
                  <a:lnTo>
                    <a:pt x="1540" y="328"/>
                  </a:lnTo>
                  <a:lnTo>
                    <a:pt x="1538" y="325"/>
                  </a:lnTo>
                  <a:lnTo>
                    <a:pt x="1533" y="325"/>
                  </a:lnTo>
                  <a:lnTo>
                    <a:pt x="1528" y="325"/>
                  </a:lnTo>
                  <a:lnTo>
                    <a:pt x="1520" y="325"/>
                  </a:lnTo>
                  <a:lnTo>
                    <a:pt x="1515" y="325"/>
                  </a:lnTo>
                  <a:lnTo>
                    <a:pt x="1510" y="325"/>
                  </a:lnTo>
                  <a:lnTo>
                    <a:pt x="1503" y="323"/>
                  </a:lnTo>
                  <a:lnTo>
                    <a:pt x="1500" y="323"/>
                  </a:lnTo>
                  <a:lnTo>
                    <a:pt x="1500" y="320"/>
                  </a:lnTo>
                  <a:lnTo>
                    <a:pt x="1498" y="318"/>
                  </a:lnTo>
                  <a:lnTo>
                    <a:pt x="1492" y="315"/>
                  </a:lnTo>
                  <a:lnTo>
                    <a:pt x="1485" y="315"/>
                  </a:lnTo>
                  <a:lnTo>
                    <a:pt x="1480" y="318"/>
                  </a:lnTo>
                  <a:lnTo>
                    <a:pt x="1475" y="323"/>
                  </a:lnTo>
                  <a:lnTo>
                    <a:pt x="1472" y="325"/>
                  </a:lnTo>
                  <a:lnTo>
                    <a:pt x="1467" y="325"/>
                  </a:lnTo>
                  <a:lnTo>
                    <a:pt x="1462" y="320"/>
                  </a:lnTo>
                  <a:lnTo>
                    <a:pt x="1460" y="318"/>
                  </a:lnTo>
                  <a:lnTo>
                    <a:pt x="1457" y="313"/>
                  </a:lnTo>
                  <a:lnTo>
                    <a:pt x="1455" y="310"/>
                  </a:lnTo>
                  <a:lnTo>
                    <a:pt x="1450" y="305"/>
                  </a:lnTo>
                  <a:lnTo>
                    <a:pt x="1442" y="300"/>
                  </a:lnTo>
                  <a:lnTo>
                    <a:pt x="1435" y="298"/>
                  </a:lnTo>
                  <a:lnTo>
                    <a:pt x="1429" y="298"/>
                  </a:lnTo>
                  <a:lnTo>
                    <a:pt x="1427" y="300"/>
                  </a:lnTo>
                  <a:lnTo>
                    <a:pt x="1419" y="303"/>
                  </a:lnTo>
                  <a:lnTo>
                    <a:pt x="1414" y="305"/>
                  </a:lnTo>
                  <a:lnTo>
                    <a:pt x="1414" y="308"/>
                  </a:lnTo>
                  <a:lnTo>
                    <a:pt x="1414" y="313"/>
                  </a:lnTo>
                  <a:lnTo>
                    <a:pt x="1409" y="315"/>
                  </a:lnTo>
                  <a:lnTo>
                    <a:pt x="1404" y="320"/>
                  </a:lnTo>
                  <a:lnTo>
                    <a:pt x="1397" y="320"/>
                  </a:lnTo>
                  <a:lnTo>
                    <a:pt x="1394" y="320"/>
                  </a:lnTo>
                  <a:lnTo>
                    <a:pt x="1392" y="315"/>
                  </a:lnTo>
                  <a:lnTo>
                    <a:pt x="1392" y="310"/>
                  </a:lnTo>
                  <a:lnTo>
                    <a:pt x="1389" y="305"/>
                  </a:lnTo>
                  <a:lnTo>
                    <a:pt x="1389" y="303"/>
                  </a:lnTo>
                  <a:lnTo>
                    <a:pt x="1387" y="298"/>
                  </a:lnTo>
                  <a:lnTo>
                    <a:pt x="1384" y="292"/>
                  </a:lnTo>
                  <a:lnTo>
                    <a:pt x="1382" y="290"/>
                  </a:lnTo>
                  <a:lnTo>
                    <a:pt x="1374" y="285"/>
                  </a:lnTo>
                  <a:lnTo>
                    <a:pt x="1366" y="285"/>
                  </a:lnTo>
                  <a:lnTo>
                    <a:pt x="1359" y="287"/>
                  </a:lnTo>
                  <a:lnTo>
                    <a:pt x="1354" y="292"/>
                  </a:lnTo>
                  <a:lnTo>
                    <a:pt x="1351" y="303"/>
                  </a:lnTo>
                  <a:lnTo>
                    <a:pt x="1349" y="313"/>
                  </a:lnTo>
                  <a:lnTo>
                    <a:pt x="1349" y="325"/>
                  </a:lnTo>
                  <a:lnTo>
                    <a:pt x="1354" y="343"/>
                  </a:lnTo>
                  <a:lnTo>
                    <a:pt x="1359" y="356"/>
                  </a:lnTo>
                  <a:lnTo>
                    <a:pt x="1356" y="353"/>
                  </a:lnTo>
                  <a:lnTo>
                    <a:pt x="1354" y="350"/>
                  </a:lnTo>
                  <a:lnTo>
                    <a:pt x="1349" y="345"/>
                  </a:lnTo>
                  <a:lnTo>
                    <a:pt x="1344" y="338"/>
                  </a:lnTo>
                  <a:lnTo>
                    <a:pt x="1341" y="330"/>
                  </a:lnTo>
                  <a:lnTo>
                    <a:pt x="1339" y="323"/>
                  </a:lnTo>
                  <a:lnTo>
                    <a:pt x="1339" y="310"/>
                  </a:lnTo>
                  <a:lnTo>
                    <a:pt x="1344" y="298"/>
                  </a:lnTo>
                  <a:lnTo>
                    <a:pt x="1344" y="290"/>
                  </a:lnTo>
                  <a:lnTo>
                    <a:pt x="1341" y="287"/>
                  </a:lnTo>
                  <a:lnTo>
                    <a:pt x="1336" y="287"/>
                  </a:lnTo>
                  <a:lnTo>
                    <a:pt x="1331" y="287"/>
                  </a:lnTo>
                  <a:lnTo>
                    <a:pt x="1324" y="290"/>
                  </a:lnTo>
                  <a:lnTo>
                    <a:pt x="1316" y="298"/>
                  </a:lnTo>
                  <a:lnTo>
                    <a:pt x="1311" y="310"/>
                  </a:lnTo>
                  <a:lnTo>
                    <a:pt x="1308" y="325"/>
                  </a:lnTo>
                  <a:lnTo>
                    <a:pt x="1308" y="335"/>
                  </a:lnTo>
                  <a:lnTo>
                    <a:pt x="1308" y="340"/>
                  </a:lnTo>
                  <a:lnTo>
                    <a:pt x="1308" y="345"/>
                  </a:lnTo>
                  <a:lnTo>
                    <a:pt x="1308" y="356"/>
                  </a:lnTo>
                  <a:lnTo>
                    <a:pt x="1308" y="361"/>
                  </a:lnTo>
                  <a:lnTo>
                    <a:pt x="1311" y="363"/>
                  </a:lnTo>
                  <a:lnTo>
                    <a:pt x="1316" y="366"/>
                  </a:lnTo>
                  <a:lnTo>
                    <a:pt x="1319" y="366"/>
                  </a:lnTo>
                  <a:lnTo>
                    <a:pt x="1321" y="366"/>
                  </a:lnTo>
                  <a:lnTo>
                    <a:pt x="1329" y="368"/>
                  </a:lnTo>
                  <a:lnTo>
                    <a:pt x="1334" y="371"/>
                  </a:lnTo>
                  <a:lnTo>
                    <a:pt x="1339" y="371"/>
                  </a:lnTo>
                  <a:lnTo>
                    <a:pt x="1341" y="373"/>
                  </a:lnTo>
                  <a:lnTo>
                    <a:pt x="1339" y="376"/>
                  </a:lnTo>
                  <a:lnTo>
                    <a:pt x="1334" y="376"/>
                  </a:lnTo>
                  <a:lnTo>
                    <a:pt x="1331" y="376"/>
                  </a:lnTo>
                  <a:lnTo>
                    <a:pt x="1326" y="376"/>
                  </a:lnTo>
                  <a:lnTo>
                    <a:pt x="1321" y="378"/>
                  </a:lnTo>
                  <a:lnTo>
                    <a:pt x="1316" y="381"/>
                  </a:lnTo>
                  <a:lnTo>
                    <a:pt x="1316" y="383"/>
                  </a:lnTo>
                  <a:lnTo>
                    <a:pt x="1319" y="386"/>
                  </a:lnTo>
                  <a:lnTo>
                    <a:pt x="1321" y="386"/>
                  </a:lnTo>
                  <a:lnTo>
                    <a:pt x="1326" y="388"/>
                  </a:lnTo>
                  <a:lnTo>
                    <a:pt x="1331" y="391"/>
                  </a:lnTo>
                  <a:lnTo>
                    <a:pt x="1334" y="393"/>
                  </a:lnTo>
                  <a:lnTo>
                    <a:pt x="1339" y="396"/>
                  </a:lnTo>
                  <a:lnTo>
                    <a:pt x="1341" y="396"/>
                  </a:lnTo>
                  <a:lnTo>
                    <a:pt x="1346" y="396"/>
                  </a:lnTo>
                  <a:lnTo>
                    <a:pt x="1351" y="393"/>
                  </a:lnTo>
                  <a:lnTo>
                    <a:pt x="1356" y="391"/>
                  </a:lnTo>
                  <a:lnTo>
                    <a:pt x="1359" y="393"/>
                  </a:lnTo>
                  <a:lnTo>
                    <a:pt x="1361" y="396"/>
                  </a:lnTo>
                  <a:lnTo>
                    <a:pt x="1371" y="398"/>
                  </a:lnTo>
                  <a:lnTo>
                    <a:pt x="1374" y="398"/>
                  </a:lnTo>
                  <a:lnTo>
                    <a:pt x="1366" y="436"/>
                  </a:lnTo>
                  <a:lnTo>
                    <a:pt x="1336" y="482"/>
                  </a:lnTo>
                  <a:lnTo>
                    <a:pt x="1326" y="426"/>
                  </a:lnTo>
                  <a:lnTo>
                    <a:pt x="1308" y="403"/>
                  </a:lnTo>
                  <a:lnTo>
                    <a:pt x="1288" y="431"/>
                  </a:lnTo>
                  <a:lnTo>
                    <a:pt x="1278" y="403"/>
                  </a:lnTo>
                  <a:lnTo>
                    <a:pt x="1258" y="368"/>
                  </a:lnTo>
                  <a:lnTo>
                    <a:pt x="1248" y="323"/>
                  </a:lnTo>
                  <a:lnTo>
                    <a:pt x="1215" y="270"/>
                  </a:lnTo>
                  <a:lnTo>
                    <a:pt x="1190" y="343"/>
                  </a:lnTo>
                  <a:lnTo>
                    <a:pt x="1190" y="368"/>
                  </a:lnTo>
                  <a:lnTo>
                    <a:pt x="1225" y="398"/>
                  </a:lnTo>
                  <a:lnTo>
                    <a:pt x="1230" y="431"/>
                  </a:lnTo>
                  <a:lnTo>
                    <a:pt x="1205" y="456"/>
                  </a:lnTo>
                  <a:lnTo>
                    <a:pt x="1190" y="446"/>
                  </a:lnTo>
                  <a:lnTo>
                    <a:pt x="1185" y="446"/>
                  </a:lnTo>
                  <a:lnTo>
                    <a:pt x="1185" y="444"/>
                  </a:lnTo>
                  <a:lnTo>
                    <a:pt x="1187" y="439"/>
                  </a:lnTo>
                  <a:lnTo>
                    <a:pt x="1185" y="434"/>
                  </a:lnTo>
                  <a:lnTo>
                    <a:pt x="1185" y="429"/>
                  </a:lnTo>
                  <a:lnTo>
                    <a:pt x="1182" y="424"/>
                  </a:lnTo>
                  <a:lnTo>
                    <a:pt x="1185" y="424"/>
                  </a:lnTo>
                  <a:lnTo>
                    <a:pt x="1187" y="424"/>
                  </a:lnTo>
                  <a:lnTo>
                    <a:pt x="1190" y="424"/>
                  </a:lnTo>
                  <a:lnTo>
                    <a:pt x="1192" y="424"/>
                  </a:lnTo>
                  <a:lnTo>
                    <a:pt x="1195" y="424"/>
                  </a:lnTo>
                  <a:lnTo>
                    <a:pt x="1198" y="419"/>
                  </a:lnTo>
                  <a:lnTo>
                    <a:pt x="1200" y="413"/>
                  </a:lnTo>
                  <a:lnTo>
                    <a:pt x="1198" y="408"/>
                  </a:lnTo>
                  <a:lnTo>
                    <a:pt x="1192" y="406"/>
                  </a:lnTo>
                  <a:lnTo>
                    <a:pt x="1190" y="403"/>
                  </a:lnTo>
                  <a:lnTo>
                    <a:pt x="1185" y="403"/>
                  </a:lnTo>
                  <a:lnTo>
                    <a:pt x="1180" y="398"/>
                  </a:lnTo>
                  <a:lnTo>
                    <a:pt x="1175" y="396"/>
                  </a:lnTo>
                  <a:lnTo>
                    <a:pt x="1170" y="391"/>
                  </a:lnTo>
                  <a:lnTo>
                    <a:pt x="1167" y="388"/>
                  </a:lnTo>
                  <a:lnTo>
                    <a:pt x="1165" y="383"/>
                  </a:lnTo>
                  <a:lnTo>
                    <a:pt x="1162" y="378"/>
                  </a:lnTo>
                  <a:lnTo>
                    <a:pt x="1162" y="373"/>
                  </a:lnTo>
                  <a:lnTo>
                    <a:pt x="1162" y="371"/>
                  </a:lnTo>
                  <a:lnTo>
                    <a:pt x="1165" y="368"/>
                  </a:lnTo>
                  <a:lnTo>
                    <a:pt x="1165" y="363"/>
                  </a:lnTo>
                  <a:lnTo>
                    <a:pt x="1162" y="356"/>
                  </a:lnTo>
                  <a:lnTo>
                    <a:pt x="1162" y="350"/>
                  </a:lnTo>
                  <a:lnTo>
                    <a:pt x="1160" y="343"/>
                  </a:lnTo>
                  <a:lnTo>
                    <a:pt x="1160" y="338"/>
                  </a:lnTo>
                  <a:lnTo>
                    <a:pt x="1157" y="333"/>
                  </a:lnTo>
                  <a:lnTo>
                    <a:pt x="1157" y="328"/>
                  </a:lnTo>
                  <a:lnTo>
                    <a:pt x="1160" y="325"/>
                  </a:lnTo>
                  <a:lnTo>
                    <a:pt x="1162" y="323"/>
                  </a:lnTo>
                  <a:lnTo>
                    <a:pt x="1165" y="323"/>
                  </a:lnTo>
                  <a:lnTo>
                    <a:pt x="1167" y="318"/>
                  </a:lnTo>
                  <a:lnTo>
                    <a:pt x="1172" y="310"/>
                  </a:lnTo>
                  <a:lnTo>
                    <a:pt x="1172" y="308"/>
                  </a:lnTo>
                  <a:lnTo>
                    <a:pt x="1172" y="305"/>
                  </a:lnTo>
                  <a:lnTo>
                    <a:pt x="1170" y="303"/>
                  </a:lnTo>
                  <a:lnTo>
                    <a:pt x="1165" y="300"/>
                  </a:lnTo>
                  <a:lnTo>
                    <a:pt x="1162" y="300"/>
                  </a:lnTo>
                  <a:lnTo>
                    <a:pt x="1157" y="300"/>
                  </a:lnTo>
                  <a:lnTo>
                    <a:pt x="1152" y="300"/>
                  </a:lnTo>
                  <a:lnTo>
                    <a:pt x="1147" y="300"/>
                  </a:lnTo>
                  <a:lnTo>
                    <a:pt x="1142" y="303"/>
                  </a:lnTo>
                  <a:lnTo>
                    <a:pt x="1145" y="305"/>
                  </a:lnTo>
                  <a:lnTo>
                    <a:pt x="1147" y="308"/>
                  </a:lnTo>
                  <a:lnTo>
                    <a:pt x="1150" y="310"/>
                  </a:lnTo>
                  <a:lnTo>
                    <a:pt x="1152" y="313"/>
                  </a:lnTo>
                  <a:lnTo>
                    <a:pt x="1150" y="313"/>
                  </a:lnTo>
                  <a:lnTo>
                    <a:pt x="1147" y="315"/>
                  </a:lnTo>
                  <a:lnTo>
                    <a:pt x="1145" y="313"/>
                  </a:lnTo>
                  <a:lnTo>
                    <a:pt x="1142" y="310"/>
                  </a:lnTo>
                  <a:lnTo>
                    <a:pt x="1137" y="310"/>
                  </a:lnTo>
                  <a:lnTo>
                    <a:pt x="1134" y="313"/>
                  </a:lnTo>
                  <a:lnTo>
                    <a:pt x="1132" y="315"/>
                  </a:lnTo>
                  <a:lnTo>
                    <a:pt x="1132" y="320"/>
                  </a:lnTo>
                  <a:lnTo>
                    <a:pt x="1132" y="323"/>
                  </a:lnTo>
                  <a:lnTo>
                    <a:pt x="1134" y="328"/>
                  </a:lnTo>
                  <a:lnTo>
                    <a:pt x="1137" y="330"/>
                  </a:lnTo>
                  <a:lnTo>
                    <a:pt x="1134" y="335"/>
                  </a:lnTo>
                  <a:lnTo>
                    <a:pt x="1132" y="340"/>
                  </a:lnTo>
                  <a:lnTo>
                    <a:pt x="1132" y="348"/>
                  </a:lnTo>
                  <a:lnTo>
                    <a:pt x="1129" y="353"/>
                  </a:lnTo>
                  <a:lnTo>
                    <a:pt x="1127" y="350"/>
                  </a:lnTo>
                  <a:lnTo>
                    <a:pt x="1124" y="343"/>
                  </a:lnTo>
                  <a:lnTo>
                    <a:pt x="1124" y="335"/>
                  </a:lnTo>
                  <a:lnTo>
                    <a:pt x="1124" y="328"/>
                  </a:lnTo>
                  <a:lnTo>
                    <a:pt x="1119" y="323"/>
                  </a:lnTo>
                  <a:lnTo>
                    <a:pt x="1117" y="320"/>
                  </a:lnTo>
                  <a:lnTo>
                    <a:pt x="1112" y="315"/>
                  </a:lnTo>
                  <a:lnTo>
                    <a:pt x="1109" y="315"/>
                  </a:lnTo>
                  <a:lnTo>
                    <a:pt x="1109" y="318"/>
                  </a:lnTo>
                  <a:lnTo>
                    <a:pt x="1112" y="323"/>
                  </a:lnTo>
                  <a:lnTo>
                    <a:pt x="1112" y="328"/>
                  </a:lnTo>
                  <a:lnTo>
                    <a:pt x="1109" y="328"/>
                  </a:lnTo>
                  <a:lnTo>
                    <a:pt x="1104" y="328"/>
                  </a:lnTo>
                  <a:lnTo>
                    <a:pt x="1099" y="325"/>
                  </a:lnTo>
                  <a:lnTo>
                    <a:pt x="1094" y="320"/>
                  </a:lnTo>
                  <a:lnTo>
                    <a:pt x="1092" y="315"/>
                  </a:lnTo>
                  <a:lnTo>
                    <a:pt x="1092" y="313"/>
                  </a:lnTo>
                  <a:lnTo>
                    <a:pt x="1087" y="313"/>
                  </a:lnTo>
                  <a:lnTo>
                    <a:pt x="1082" y="315"/>
                  </a:lnTo>
                  <a:lnTo>
                    <a:pt x="1079" y="315"/>
                  </a:lnTo>
                  <a:lnTo>
                    <a:pt x="1077" y="313"/>
                  </a:lnTo>
                  <a:lnTo>
                    <a:pt x="1079" y="310"/>
                  </a:lnTo>
                  <a:lnTo>
                    <a:pt x="1082" y="303"/>
                  </a:lnTo>
                  <a:lnTo>
                    <a:pt x="1082" y="300"/>
                  </a:lnTo>
                  <a:lnTo>
                    <a:pt x="1077" y="298"/>
                  </a:lnTo>
                  <a:lnTo>
                    <a:pt x="1071" y="300"/>
                  </a:lnTo>
                  <a:lnTo>
                    <a:pt x="1064" y="300"/>
                  </a:lnTo>
                  <a:lnTo>
                    <a:pt x="1056" y="303"/>
                  </a:lnTo>
                  <a:lnTo>
                    <a:pt x="1051" y="303"/>
                  </a:lnTo>
                  <a:lnTo>
                    <a:pt x="1049" y="305"/>
                  </a:lnTo>
                  <a:lnTo>
                    <a:pt x="1044" y="305"/>
                  </a:lnTo>
                  <a:lnTo>
                    <a:pt x="1039" y="308"/>
                  </a:lnTo>
                  <a:lnTo>
                    <a:pt x="1036" y="310"/>
                  </a:lnTo>
                  <a:lnTo>
                    <a:pt x="1036" y="315"/>
                  </a:lnTo>
                  <a:lnTo>
                    <a:pt x="1034" y="320"/>
                  </a:lnTo>
                  <a:lnTo>
                    <a:pt x="1029" y="323"/>
                  </a:lnTo>
                  <a:lnTo>
                    <a:pt x="1024" y="323"/>
                  </a:lnTo>
                  <a:lnTo>
                    <a:pt x="1021" y="325"/>
                  </a:lnTo>
                  <a:lnTo>
                    <a:pt x="1021" y="330"/>
                  </a:lnTo>
                  <a:lnTo>
                    <a:pt x="1024" y="333"/>
                  </a:lnTo>
                  <a:lnTo>
                    <a:pt x="1029" y="338"/>
                  </a:lnTo>
                  <a:lnTo>
                    <a:pt x="1034" y="343"/>
                  </a:lnTo>
                  <a:lnTo>
                    <a:pt x="1036" y="345"/>
                  </a:lnTo>
                  <a:lnTo>
                    <a:pt x="1039" y="345"/>
                  </a:lnTo>
                  <a:lnTo>
                    <a:pt x="1039" y="350"/>
                  </a:lnTo>
                  <a:lnTo>
                    <a:pt x="1039" y="353"/>
                  </a:lnTo>
                  <a:lnTo>
                    <a:pt x="1034" y="356"/>
                  </a:lnTo>
                  <a:lnTo>
                    <a:pt x="1026" y="353"/>
                  </a:lnTo>
                  <a:lnTo>
                    <a:pt x="1021" y="356"/>
                  </a:lnTo>
                  <a:lnTo>
                    <a:pt x="1021" y="358"/>
                  </a:lnTo>
                  <a:lnTo>
                    <a:pt x="1021" y="361"/>
                  </a:lnTo>
                  <a:lnTo>
                    <a:pt x="1021" y="366"/>
                  </a:lnTo>
                  <a:lnTo>
                    <a:pt x="1024" y="371"/>
                  </a:lnTo>
                  <a:lnTo>
                    <a:pt x="1026" y="373"/>
                  </a:lnTo>
                  <a:lnTo>
                    <a:pt x="1031" y="373"/>
                  </a:lnTo>
                  <a:lnTo>
                    <a:pt x="1036" y="373"/>
                  </a:lnTo>
                  <a:lnTo>
                    <a:pt x="1044" y="373"/>
                  </a:lnTo>
                  <a:lnTo>
                    <a:pt x="1051" y="376"/>
                  </a:lnTo>
                  <a:lnTo>
                    <a:pt x="1054" y="376"/>
                  </a:lnTo>
                  <a:lnTo>
                    <a:pt x="1059" y="376"/>
                  </a:lnTo>
                  <a:lnTo>
                    <a:pt x="1069" y="378"/>
                  </a:lnTo>
                  <a:lnTo>
                    <a:pt x="1077" y="381"/>
                  </a:lnTo>
                  <a:lnTo>
                    <a:pt x="1082" y="386"/>
                  </a:lnTo>
                  <a:lnTo>
                    <a:pt x="1082" y="391"/>
                  </a:lnTo>
                  <a:lnTo>
                    <a:pt x="1079" y="396"/>
                  </a:lnTo>
                  <a:lnTo>
                    <a:pt x="1079" y="398"/>
                  </a:lnTo>
                  <a:lnTo>
                    <a:pt x="1077" y="398"/>
                  </a:lnTo>
                  <a:lnTo>
                    <a:pt x="1071" y="396"/>
                  </a:lnTo>
                  <a:lnTo>
                    <a:pt x="1066" y="396"/>
                  </a:lnTo>
                  <a:lnTo>
                    <a:pt x="1059" y="393"/>
                  </a:lnTo>
                  <a:lnTo>
                    <a:pt x="1054" y="388"/>
                  </a:lnTo>
                  <a:lnTo>
                    <a:pt x="1049" y="388"/>
                  </a:lnTo>
                  <a:lnTo>
                    <a:pt x="1044" y="386"/>
                  </a:lnTo>
                  <a:lnTo>
                    <a:pt x="1039" y="383"/>
                  </a:lnTo>
                  <a:lnTo>
                    <a:pt x="1034" y="383"/>
                  </a:lnTo>
                  <a:lnTo>
                    <a:pt x="1026" y="383"/>
                  </a:lnTo>
                  <a:lnTo>
                    <a:pt x="1021" y="383"/>
                  </a:lnTo>
                  <a:lnTo>
                    <a:pt x="1019" y="383"/>
                  </a:lnTo>
                  <a:lnTo>
                    <a:pt x="1019" y="388"/>
                  </a:lnTo>
                  <a:lnTo>
                    <a:pt x="1019" y="393"/>
                  </a:lnTo>
                  <a:lnTo>
                    <a:pt x="1019" y="398"/>
                  </a:lnTo>
                  <a:lnTo>
                    <a:pt x="1019" y="403"/>
                  </a:lnTo>
                  <a:lnTo>
                    <a:pt x="1021" y="406"/>
                  </a:lnTo>
                  <a:lnTo>
                    <a:pt x="1026" y="406"/>
                  </a:lnTo>
                  <a:lnTo>
                    <a:pt x="1031" y="408"/>
                  </a:lnTo>
                  <a:lnTo>
                    <a:pt x="1036" y="413"/>
                  </a:lnTo>
                  <a:lnTo>
                    <a:pt x="1044" y="419"/>
                  </a:lnTo>
                  <a:lnTo>
                    <a:pt x="1049" y="424"/>
                  </a:lnTo>
                  <a:lnTo>
                    <a:pt x="1049" y="429"/>
                  </a:lnTo>
                  <a:lnTo>
                    <a:pt x="1051" y="434"/>
                  </a:lnTo>
                  <a:lnTo>
                    <a:pt x="1051" y="439"/>
                  </a:lnTo>
                  <a:lnTo>
                    <a:pt x="1054" y="441"/>
                  </a:lnTo>
                  <a:lnTo>
                    <a:pt x="1056" y="441"/>
                  </a:lnTo>
                  <a:lnTo>
                    <a:pt x="1059" y="441"/>
                  </a:lnTo>
                  <a:lnTo>
                    <a:pt x="1064" y="444"/>
                  </a:lnTo>
                  <a:lnTo>
                    <a:pt x="1066" y="444"/>
                  </a:lnTo>
                  <a:lnTo>
                    <a:pt x="1071" y="446"/>
                  </a:lnTo>
                  <a:lnTo>
                    <a:pt x="1074" y="446"/>
                  </a:lnTo>
                  <a:lnTo>
                    <a:pt x="1077" y="446"/>
                  </a:lnTo>
                  <a:lnTo>
                    <a:pt x="1079" y="446"/>
                  </a:lnTo>
                  <a:lnTo>
                    <a:pt x="1084" y="446"/>
                  </a:lnTo>
                  <a:lnTo>
                    <a:pt x="1087" y="444"/>
                  </a:lnTo>
                  <a:lnTo>
                    <a:pt x="1094" y="444"/>
                  </a:lnTo>
                  <a:lnTo>
                    <a:pt x="1102" y="441"/>
                  </a:lnTo>
                  <a:lnTo>
                    <a:pt x="1107" y="439"/>
                  </a:lnTo>
                  <a:lnTo>
                    <a:pt x="1114" y="439"/>
                  </a:lnTo>
                  <a:lnTo>
                    <a:pt x="1119" y="436"/>
                  </a:lnTo>
                  <a:lnTo>
                    <a:pt x="1124" y="434"/>
                  </a:lnTo>
                  <a:lnTo>
                    <a:pt x="1129" y="429"/>
                  </a:lnTo>
                  <a:lnTo>
                    <a:pt x="1132" y="426"/>
                  </a:lnTo>
                  <a:lnTo>
                    <a:pt x="1134" y="429"/>
                  </a:lnTo>
                  <a:lnTo>
                    <a:pt x="1137" y="429"/>
                  </a:lnTo>
                  <a:lnTo>
                    <a:pt x="1142" y="434"/>
                  </a:lnTo>
                  <a:lnTo>
                    <a:pt x="1145" y="434"/>
                  </a:lnTo>
                  <a:lnTo>
                    <a:pt x="1147" y="439"/>
                  </a:lnTo>
                  <a:lnTo>
                    <a:pt x="1152" y="441"/>
                  </a:lnTo>
                  <a:lnTo>
                    <a:pt x="1157" y="444"/>
                  </a:lnTo>
                  <a:lnTo>
                    <a:pt x="1160" y="449"/>
                  </a:lnTo>
                  <a:lnTo>
                    <a:pt x="1167" y="451"/>
                  </a:lnTo>
                  <a:lnTo>
                    <a:pt x="1157" y="471"/>
                  </a:lnTo>
                  <a:lnTo>
                    <a:pt x="1122" y="461"/>
                  </a:lnTo>
                  <a:lnTo>
                    <a:pt x="1069" y="461"/>
                  </a:lnTo>
                  <a:lnTo>
                    <a:pt x="1039" y="441"/>
                  </a:lnTo>
                  <a:lnTo>
                    <a:pt x="991" y="451"/>
                  </a:lnTo>
                  <a:lnTo>
                    <a:pt x="996" y="466"/>
                  </a:lnTo>
                  <a:lnTo>
                    <a:pt x="1001" y="497"/>
                  </a:lnTo>
                  <a:lnTo>
                    <a:pt x="986" y="492"/>
                  </a:lnTo>
                  <a:lnTo>
                    <a:pt x="958" y="461"/>
                  </a:lnTo>
                  <a:lnTo>
                    <a:pt x="903" y="471"/>
                  </a:lnTo>
                  <a:lnTo>
                    <a:pt x="875" y="451"/>
                  </a:lnTo>
                  <a:lnTo>
                    <a:pt x="885" y="431"/>
                  </a:lnTo>
                  <a:lnTo>
                    <a:pt x="850" y="421"/>
                  </a:lnTo>
                  <a:lnTo>
                    <a:pt x="807" y="398"/>
                  </a:lnTo>
                  <a:lnTo>
                    <a:pt x="749" y="383"/>
                  </a:lnTo>
                  <a:lnTo>
                    <a:pt x="713" y="393"/>
                  </a:lnTo>
                  <a:lnTo>
                    <a:pt x="676" y="353"/>
                  </a:lnTo>
                  <a:lnTo>
                    <a:pt x="577" y="398"/>
                  </a:lnTo>
                  <a:lnTo>
                    <a:pt x="550" y="426"/>
                  </a:lnTo>
                  <a:lnTo>
                    <a:pt x="509" y="416"/>
                  </a:lnTo>
                  <a:lnTo>
                    <a:pt x="482" y="388"/>
                  </a:lnTo>
                  <a:lnTo>
                    <a:pt x="451" y="378"/>
                  </a:lnTo>
                  <a:lnTo>
                    <a:pt x="439" y="378"/>
                  </a:lnTo>
                  <a:lnTo>
                    <a:pt x="424" y="363"/>
                  </a:lnTo>
                  <a:lnTo>
                    <a:pt x="376" y="368"/>
                  </a:lnTo>
                  <a:lnTo>
                    <a:pt x="308" y="338"/>
                  </a:lnTo>
                  <a:lnTo>
                    <a:pt x="277" y="343"/>
                  </a:lnTo>
                  <a:lnTo>
                    <a:pt x="252" y="328"/>
                  </a:lnTo>
                  <a:lnTo>
                    <a:pt x="245" y="310"/>
                  </a:lnTo>
                  <a:lnTo>
                    <a:pt x="199" y="295"/>
                  </a:lnTo>
                  <a:lnTo>
                    <a:pt x="171" y="315"/>
                  </a:lnTo>
                  <a:lnTo>
                    <a:pt x="131" y="333"/>
                  </a:lnTo>
                  <a:lnTo>
                    <a:pt x="98" y="353"/>
                  </a:lnTo>
                  <a:lnTo>
                    <a:pt x="78" y="403"/>
                  </a:lnTo>
                  <a:lnTo>
                    <a:pt x="35" y="413"/>
                  </a:lnTo>
                  <a:lnTo>
                    <a:pt x="35" y="446"/>
                  </a:lnTo>
                  <a:lnTo>
                    <a:pt x="68" y="487"/>
                  </a:lnTo>
                  <a:lnTo>
                    <a:pt x="98" y="502"/>
                  </a:lnTo>
                  <a:lnTo>
                    <a:pt x="98" y="522"/>
                  </a:lnTo>
                  <a:lnTo>
                    <a:pt x="78" y="532"/>
                  </a:lnTo>
                  <a:lnTo>
                    <a:pt x="50" y="522"/>
                  </a:lnTo>
                  <a:lnTo>
                    <a:pt x="0" y="560"/>
                  </a:lnTo>
                  <a:lnTo>
                    <a:pt x="15" y="575"/>
                  </a:lnTo>
                  <a:lnTo>
                    <a:pt x="35" y="595"/>
                  </a:lnTo>
                  <a:lnTo>
                    <a:pt x="83" y="595"/>
                  </a:lnTo>
                  <a:lnTo>
                    <a:pt x="118" y="600"/>
                  </a:lnTo>
                  <a:lnTo>
                    <a:pt x="103" y="635"/>
                  </a:lnTo>
                  <a:lnTo>
                    <a:pt x="63" y="653"/>
                  </a:lnTo>
                  <a:lnTo>
                    <a:pt x="30" y="673"/>
                  </a:lnTo>
                  <a:lnTo>
                    <a:pt x="25" y="698"/>
                  </a:lnTo>
                  <a:lnTo>
                    <a:pt x="63" y="724"/>
                  </a:lnTo>
                  <a:lnTo>
                    <a:pt x="68" y="751"/>
                  </a:lnTo>
                  <a:lnTo>
                    <a:pt x="93" y="761"/>
                  </a:lnTo>
                  <a:lnTo>
                    <a:pt x="98" y="797"/>
                  </a:lnTo>
                  <a:lnTo>
                    <a:pt x="136" y="792"/>
                  </a:lnTo>
                  <a:lnTo>
                    <a:pt x="182" y="792"/>
                  </a:lnTo>
                  <a:lnTo>
                    <a:pt x="156" y="840"/>
                  </a:lnTo>
                  <a:lnTo>
                    <a:pt x="78" y="905"/>
                  </a:lnTo>
                  <a:lnTo>
                    <a:pt x="166" y="860"/>
                  </a:lnTo>
                  <a:lnTo>
                    <a:pt x="234" y="787"/>
                  </a:lnTo>
                  <a:lnTo>
                    <a:pt x="229" y="772"/>
                  </a:lnTo>
                  <a:lnTo>
                    <a:pt x="272" y="719"/>
                  </a:lnTo>
                  <a:lnTo>
                    <a:pt x="282" y="741"/>
                  </a:lnTo>
                  <a:lnTo>
                    <a:pt x="287" y="766"/>
                  </a:lnTo>
                  <a:lnTo>
                    <a:pt x="320" y="741"/>
                  </a:lnTo>
                  <a:lnTo>
                    <a:pt x="355" y="719"/>
                  </a:lnTo>
                  <a:lnTo>
                    <a:pt x="371" y="731"/>
                  </a:lnTo>
                  <a:lnTo>
                    <a:pt x="451" y="746"/>
                  </a:lnTo>
                  <a:lnTo>
                    <a:pt x="504" y="772"/>
                  </a:lnTo>
                  <a:lnTo>
                    <a:pt x="545" y="751"/>
                  </a:lnTo>
                  <a:lnTo>
                    <a:pt x="603" y="855"/>
                  </a:lnTo>
                  <a:lnTo>
                    <a:pt x="640" y="880"/>
                  </a:lnTo>
                  <a:lnTo>
                    <a:pt x="635" y="920"/>
                  </a:lnTo>
                  <a:lnTo>
                    <a:pt x="650" y="953"/>
                  </a:lnTo>
                  <a:lnTo>
                    <a:pt x="691" y="1009"/>
                  </a:lnTo>
                  <a:lnTo>
                    <a:pt x="749" y="1046"/>
                  </a:lnTo>
                  <a:lnTo>
                    <a:pt x="754" y="1072"/>
                  </a:lnTo>
                  <a:lnTo>
                    <a:pt x="759" y="1102"/>
                  </a:lnTo>
                  <a:lnTo>
                    <a:pt x="744" y="1112"/>
                  </a:lnTo>
                  <a:lnTo>
                    <a:pt x="749" y="1092"/>
                  </a:lnTo>
                  <a:lnTo>
                    <a:pt x="719" y="1082"/>
                  </a:lnTo>
                  <a:lnTo>
                    <a:pt x="734" y="1137"/>
                  </a:lnTo>
                  <a:lnTo>
                    <a:pt x="729" y="1180"/>
                  </a:lnTo>
                  <a:lnTo>
                    <a:pt x="719" y="1220"/>
                  </a:lnTo>
                  <a:lnTo>
                    <a:pt x="729" y="1253"/>
                  </a:lnTo>
                  <a:lnTo>
                    <a:pt x="729" y="1273"/>
                  </a:lnTo>
                  <a:lnTo>
                    <a:pt x="754" y="1324"/>
                  </a:lnTo>
                  <a:lnTo>
                    <a:pt x="774" y="1359"/>
                  </a:lnTo>
                  <a:lnTo>
                    <a:pt x="792" y="1387"/>
                  </a:lnTo>
                  <a:lnTo>
                    <a:pt x="837" y="1417"/>
                  </a:lnTo>
                  <a:lnTo>
                    <a:pt x="842" y="1427"/>
                  </a:lnTo>
                  <a:lnTo>
                    <a:pt x="845" y="1427"/>
                  </a:lnTo>
                  <a:lnTo>
                    <a:pt x="875" y="1483"/>
                  </a:lnTo>
                  <a:lnTo>
                    <a:pt x="895" y="1515"/>
                  </a:lnTo>
                  <a:lnTo>
                    <a:pt x="890" y="1525"/>
                  </a:lnTo>
                  <a:lnTo>
                    <a:pt x="928" y="1551"/>
                  </a:lnTo>
                  <a:lnTo>
                    <a:pt x="933" y="1576"/>
                  </a:lnTo>
                  <a:lnTo>
                    <a:pt x="948" y="1586"/>
                  </a:lnTo>
                  <a:lnTo>
                    <a:pt x="968" y="1606"/>
                  </a:lnTo>
                  <a:lnTo>
                    <a:pt x="976" y="1591"/>
                  </a:lnTo>
                  <a:lnTo>
                    <a:pt x="953" y="1576"/>
                  </a:lnTo>
                  <a:lnTo>
                    <a:pt x="933" y="1530"/>
                  </a:lnTo>
                  <a:lnTo>
                    <a:pt x="895" y="1477"/>
                  </a:lnTo>
                  <a:lnTo>
                    <a:pt x="885" y="1447"/>
                  </a:lnTo>
                  <a:lnTo>
                    <a:pt x="913" y="1457"/>
                  </a:lnTo>
                  <a:lnTo>
                    <a:pt x="938" y="1510"/>
                  </a:lnTo>
                  <a:lnTo>
                    <a:pt x="948" y="1525"/>
                  </a:lnTo>
                  <a:lnTo>
                    <a:pt x="976" y="1541"/>
                  </a:lnTo>
                  <a:lnTo>
                    <a:pt x="976" y="1556"/>
                  </a:lnTo>
                  <a:lnTo>
                    <a:pt x="996" y="1566"/>
                  </a:lnTo>
                  <a:lnTo>
                    <a:pt x="1006" y="1581"/>
                  </a:lnTo>
                  <a:lnTo>
                    <a:pt x="1031" y="1606"/>
                  </a:lnTo>
                  <a:lnTo>
                    <a:pt x="1036" y="1644"/>
                  </a:lnTo>
                  <a:lnTo>
                    <a:pt x="1036" y="1659"/>
                  </a:lnTo>
                  <a:lnTo>
                    <a:pt x="1104" y="1699"/>
                  </a:lnTo>
                  <a:lnTo>
                    <a:pt x="1137" y="1717"/>
                  </a:lnTo>
                  <a:lnTo>
                    <a:pt x="1195" y="1732"/>
                  </a:lnTo>
                  <a:lnTo>
                    <a:pt x="1210" y="1727"/>
                  </a:lnTo>
                  <a:lnTo>
                    <a:pt x="1225" y="1727"/>
                  </a:lnTo>
                  <a:lnTo>
                    <a:pt x="1250" y="1747"/>
                  </a:lnTo>
                  <a:lnTo>
                    <a:pt x="1256" y="1755"/>
                  </a:lnTo>
                  <a:lnTo>
                    <a:pt x="1288" y="1760"/>
                  </a:lnTo>
                  <a:lnTo>
                    <a:pt x="1303" y="1755"/>
                  </a:lnTo>
                  <a:lnTo>
                    <a:pt x="1303" y="1752"/>
                  </a:lnTo>
                  <a:lnTo>
                    <a:pt x="1331" y="1767"/>
                  </a:lnTo>
                  <a:lnTo>
                    <a:pt x="1361" y="1755"/>
                  </a:lnTo>
                  <a:lnTo>
                    <a:pt x="1329" y="1767"/>
                  </a:lnTo>
                  <a:lnTo>
                    <a:pt x="1356" y="1810"/>
                  </a:lnTo>
                  <a:lnTo>
                    <a:pt x="1366" y="1820"/>
                  </a:lnTo>
                  <a:lnTo>
                    <a:pt x="1414" y="1851"/>
                  </a:lnTo>
                  <a:lnTo>
                    <a:pt x="1419" y="1830"/>
                  </a:lnTo>
                  <a:lnTo>
                    <a:pt x="1404" y="1810"/>
                  </a:lnTo>
                  <a:close/>
                  <a:moveTo>
                    <a:pt x="1268" y="1722"/>
                  </a:moveTo>
                  <a:lnTo>
                    <a:pt x="1268" y="1722"/>
                  </a:lnTo>
                  <a:lnTo>
                    <a:pt x="1281" y="1722"/>
                  </a:lnTo>
                  <a:lnTo>
                    <a:pt x="1283" y="1722"/>
                  </a:lnTo>
                  <a:lnTo>
                    <a:pt x="1268" y="1722"/>
                  </a:lnTo>
                  <a:close/>
                  <a:moveTo>
                    <a:pt x="1593" y="1692"/>
                  </a:moveTo>
                  <a:lnTo>
                    <a:pt x="1614" y="1692"/>
                  </a:lnTo>
                  <a:lnTo>
                    <a:pt x="1629" y="1679"/>
                  </a:lnTo>
                  <a:lnTo>
                    <a:pt x="1671" y="1687"/>
                  </a:lnTo>
                  <a:lnTo>
                    <a:pt x="1651" y="1674"/>
                  </a:lnTo>
                  <a:lnTo>
                    <a:pt x="1619" y="1659"/>
                  </a:lnTo>
                  <a:lnTo>
                    <a:pt x="1578" y="1659"/>
                  </a:lnTo>
                  <a:lnTo>
                    <a:pt x="1578" y="1669"/>
                  </a:lnTo>
                  <a:lnTo>
                    <a:pt x="1556" y="1674"/>
                  </a:lnTo>
                  <a:lnTo>
                    <a:pt x="1583" y="1687"/>
                  </a:lnTo>
                  <a:lnTo>
                    <a:pt x="1593" y="1692"/>
                  </a:lnTo>
                  <a:close/>
                  <a:moveTo>
                    <a:pt x="1520" y="1634"/>
                  </a:moveTo>
                  <a:lnTo>
                    <a:pt x="1520" y="1634"/>
                  </a:lnTo>
                  <a:lnTo>
                    <a:pt x="1513" y="1624"/>
                  </a:lnTo>
                  <a:lnTo>
                    <a:pt x="1510" y="1619"/>
                  </a:lnTo>
                  <a:lnTo>
                    <a:pt x="1472" y="1604"/>
                  </a:lnTo>
                  <a:lnTo>
                    <a:pt x="1414" y="1604"/>
                  </a:lnTo>
                  <a:lnTo>
                    <a:pt x="1382" y="1609"/>
                  </a:lnTo>
                  <a:lnTo>
                    <a:pt x="1371" y="1619"/>
                  </a:lnTo>
                  <a:lnTo>
                    <a:pt x="1397" y="1624"/>
                  </a:lnTo>
                  <a:lnTo>
                    <a:pt x="1419" y="1624"/>
                  </a:lnTo>
                  <a:lnTo>
                    <a:pt x="1450" y="1624"/>
                  </a:lnTo>
                  <a:lnTo>
                    <a:pt x="1482" y="1629"/>
                  </a:lnTo>
                  <a:lnTo>
                    <a:pt x="1492" y="1644"/>
                  </a:lnTo>
                  <a:lnTo>
                    <a:pt x="1503" y="1654"/>
                  </a:lnTo>
                  <a:lnTo>
                    <a:pt x="1545" y="1654"/>
                  </a:lnTo>
                  <a:lnTo>
                    <a:pt x="1553" y="1654"/>
                  </a:lnTo>
                  <a:lnTo>
                    <a:pt x="1556" y="1651"/>
                  </a:lnTo>
                  <a:lnTo>
                    <a:pt x="1556" y="1649"/>
                  </a:lnTo>
                  <a:lnTo>
                    <a:pt x="1545" y="1639"/>
                  </a:lnTo>
                  <a:lnTo>
                    <a:pt x="1538" y="1639"/>
                  </a:lnTo>
                  <a:lnTo>
                    <a:pt x="1528" y="1636"/>
                  </a:lnTo>
                  <a:lnTo>
                    <a:pt x="1520" y="1634"/>
                  </a:lnTo>
                  <a:close/>
                  <a:moveTo>
                    <a:pt x="1704" y="1717"/>
                  </a:moveTo>
                  <a:lnTo>
                    <a:pt x="1729" y="1722"/>
                  </a:lnTo>
                  <a:lnTo>
                    <a:pt x="1729" y="1709"/>
                  </a:lnTo>
                  <a:lnTo>
                    <a:pt x="1707" y="1709"/>
                  </a:lnTo>
                  <a:lnTo>
                    <a:pt x="1704" y="1717"/>
                  </a:lnTo>
                  <a:close/>
                  <a:moveTo>
                    <a:pt x="1452" y="1861"/>
                  </a:moveTo>
                  <a:lnTo>
                    <a:pt x="1452" y="1861"/>
                  </a:lnTo>
                  <a:lnTo>
                    <a:pt x="1467" y="1846"/>
                  </a:lnTo>
                  <a:lnTo>
                    <a:pt x="1487" y="1851"/>
                  </a:lnTo>
                  <a:lnTo>
                    <a:pt x="1492" y="1866"/>
                  </a:lnTo>
                  <a:lnTo>
                    <a:pt x="1508" y="1851"/>
                  </a:lnTo>
                  <a:lnTo>
                    <a:pt x="1487" y="1836"/>
                  </a:lnTo>
                  <a:lnTo>
                    <a:pt x="1462" y="1836"/>
                  </a:lnTo>
                  <a:lnTo>
                    <a:pt x="1445" y="1838"/>
                  </a:lnTo>
                  <a:lnTo>
                    <a:pt x="1432" y="1838"/>
                  </a:lnTo>
                  <a:lnTo>
                    <a:pt x="1424" y="1836"/>
                  </a:lnTo>
                  <a:lnTo>
                    <a:pt x="1419" y="1836"/>
                  </a:lnTo>
                  <a:lnTo>
                    <a:pt x="1419" y="1830"/>
                  </a:lnTo>
                  <a:lnTo>
                    <a:pt x="1414" y="1851"/>
                  </a:lnTo>
                  <a:lnTo>
                    <a:pt x="1435" y="1871"/>
                  </a:lnTo>
                  <a:lnTo>
                    <a:pt x="1445" y="1871"/>
                  </a:lnTo>
                  <a:lnTo>
                    <a:pt x="1452" y="1861"/>
                  </a:lnTo>
                  <a:close/>
                  <a:moveTo>
                    <a:pt x="2201" y="2073"/>
                  </a:moveTo>
                  <a:lnTo>
                    <a:pt x="2201" y="2073"/>
                  </a:lnTo>
                  <a:lnTo>
                    <a:pt x="2168" y="2062"/>
                  </a:lnTo>
                  <a:lnTo>
                    <a:pt x="2123" y="2037"/>
                  </a:lnTo>
                  <a:lnTo>
                    <a:pt x="2070" y="2032"/>
                  </a:lnTo>
                  <a:lnTo>
                    <a:pt x="2055" y="2027"/>
                  </a:lnTo>
                  <a:lnTo>
                    <a:pt x="2042" y="2012"/>
                  </a:lnTo>
                  <a:lnTo>
                    <a:pt x="2002" y="1997"/>
                  </a:lnTo>
                  <a:lnTo>
                    <a:pt x="1964" y="1974"/>
                  </a:lnTo>
                  <a:lnTo>
                    <a:pt x="1959" y="1954"/>
                  </a:lnTo>
                  <a:lnTo>
                    <a:pt x="1944" y="1914"/>
                  </a:lnTo>
                  <a:lnTo>
                    <a:pt x="1939" y="1914"/>
                  </a:lnTo>
                  <a:lnTo>
                    <a:pt x="1903" y="1893"/>
                  </a:lnTo>
                  <a:lnTo>
                    <a:pt x="1891" y="1893"/>
                  </a:lnTo>
                  <a:lnTo>
                    <a:pt x="1891" y="1896"/>
                  </a:lnTo>
                  <a:lnTo>
                    <a:pt x="1891" y="1893"/>
                  </a:lnTo>
                  <a:lnTo>
                    <a:pt x="1848" y="1888"/>
                  </a:lnTo>
                  <a:lnTo>
                    <a:pt x="1848" y="1883"/>
                  </a:lnTo>
                  <a:lnTo>
                    <a:pt x="1848" y="1888"/>
                  </a:lnTo>
                  <a:lnTo>
                    <a:pt x="1848" y="1881"/>
                  </a:lnTo>
                  <a:lnTo>
                    <a:pt x="1828" y="1876"/>
                  </a:lnTo>
                  <a:lnTo>
                    <a:pt x="1823" y="1861"/>
                  </a:lnTo>
                  <a:lnTo>
                    <a:pt x="1803" y="1846"/>
                  </a:lnTo>
                  <a:lnTo>
                    <a:pt x="1798" y="1846"/>
                  </a:lnTo>
                  <a:lnTo>
                    <a:pt x="1782" y="1841"/>
                  </a:lnTo>
                  <a:lnTo>
                    <a:pt x="1777" y="1830"/>
                  </a:lnTo>
                  <a:lnTo>
                    <a:pt x="1745" y="1815"/>
                  </a:lnTo>
                  <a:lnTo>
                    <a:pt x="1694" y="1820"/>
                  </a:lnTo>
                  <a:lnTo>
                    <a:pt x="1666" y="1815"/>
                  </a:lnTo>
                  <a:lnTo>
                    <a:pt x="1661" y="1805"/>
                  </a:lnTo>
                  <a:lnTo>
                    <a:pt x="1636" y="1800"/>
                  </a:lnTo>
                  <a:lnTo>
                    <a:pt x="1608" y="1805"/>
                  </a:lnTo>
                  <a:lnTo>
                    <a:pt x="1606" y="1803"/>
                  </a:lnTo>
                  <a:lnTo>
                    <a:pt x="1606" y="1798"/>
                  </a:lnTo>
                  <a:lnTo>
                    <a:pt x="1603" y="1790"/>
                  </a:lnTo>
                  <a:lnTo>
                    <a:pt x="1591" y="1795"/>
                  </a:lnTo>
                  <a:lnTo>
                    <a:pt x="1603" y="1790"/>
                  </a:lnTo>
                  <a:lnTo>
                    <a:pt x="1603" y="1785"/>
                  </a:lnTo>
                  <a:lnTo>
                    <a:pt x="1566" y="1795"/>
                  </a:lnTo>
                  <a:lnTo>
                    <a:pt x="1545" y="1805"/>
                  </a:lnTo>
                  <a:lnTo>
                    <a:pt x="1535" y="1830"/>
                  </a:lnTo>
                  <a:lnTo>
                    <a:pt x="1525" y="1836"/>
                  </a:lnTo>
                  <a:lnTo>
                    <a:pt x="1508" y="1851"/>
                  </a:lnTo>
                  <a:lnTo>
                    <a:pt x="1492" y="1866"/>
                  </a:lnTo>
                  <a:lnTo>
                    <a:pt x="1498" y="1878"/>
                  </a:lnTo>
                  <a:lnTo>
                    <a:pt x="1503" y="1904"/>
                  </a:lnTo>
                  <a:lnTo>
                    <a:pt x="1503" y="1919"/>
                  </a:lnTo>
                  <a:lnTo>
                    <a:pt x="1508" y="1939"/>
                  </a:lnTo>
                  <a:lnTo>
                    <a:pt x="1487" y="1954"/>
                  </a:lnTo>
                  <a:lnTo>
                    <a:pt x="1477" y="1964"/>
                  </a:lnTo>
                  <a:lnTo>
                    <a:pt x="1472" y="1974"/>
                  </a:lnTo>
                  <a:lnTo>
                    <a:pt x="1450" y="2022"/>
                  </a:lnTo>
                  <a:lnTo>
                    <a:pt x="1462" y="2042"/>
                  </a:lnTo>
                  <a:lnTo>
                    <a:pt x="1450" y="2047"/>
                  </a:lnTo>
                  <a:lnTo>
                    <a:pt x="1452" y="2047"/>
                  </a:lnTo>
                  <a:lnTo>
                    <a:pt x="1435" y="2057"/>
                  </a:lnTo>
                  <a:lnTo>
                    <a:pt x="1452" y="2093"/>
                  </a:lnTo>
                  <a:lnTo>
                    <a:pt x="1482" y="2146"/>
                  </a:lnTo>
                  <a:lnTo>
                    <a:pt x="1515" y="2211"/>
                  </a:lnTo>
                  <a:lnTo>
                    <a:pt x="1515" y="2221"/>
                  </a:lnTo>
                  <a:lnTo>
                    <a:pt x="1626" y="2284"/>
                  </a:lnTo>
                  <a:lnTo>
                    <a:pt x="1631" y="2284"/>
                  </a:lnTo>
                  <a:lnTo>
                    <a:pt x="1631" y="2282"/>
                  </a:lnTo>
                  <a:lnTo>
                    <a:pt x="1634" y="2279"/>
                  </a:lnTo>
                  <a:lnTo>
                    <a:pt x="1649" y="2294"/>
                  </a:lnTo>
                  <a:lnTo>
                    <a:pt x="1649" y="2297"/>
                  </a:lnTo>
                  <a:lnTo>
                    <a:pt x="1644" y="2315"/>
                  </a:lnTo>
                  <a:lnTo>
                    <a:pt x="1666" y="2352"/>
                  </a:lnTo>
                  <a:lnTo>
                    <a:pt x="1671" y="2362"/>
                  </a:lnTo>
                  <a:lnTo>
                    <a:pt x="1677" y="2357"/>
                  </a:lnTo>
                  <a:lnTo>
                    <a:pt x="1677" y="2360"/>
                  </a:lnTo>
                  <a:lnTo>
                    <a:pt x="1671" y="2362"/>
                  </a:lnTo>
                  <a:lnTo>
                    <a:pt x="1677" y="2368"/>
                  </a:lnTo>
                  <a:lnTo>
                    <a:pt x="1671" y="2388"/>
                  </a:lnTo>
                  <a:lnTo>
                    <a:pt x="1656" y="2405"/>
                  </a:lnTo>
                  <a:lnTo>
                    <a:pt x="1656" y="2436"/>
                  </a:lnTo>
                  <a:lnTo>
                    <a:pt x="1646" y="2456"/>
                  </a:lnTo>
                  <a:lnTo>
                    <a:pt x="1629" y="2524"/>
                  </a:lnTo>
                  <a:lnTo>
                    <a:pt x="1634" y="2574"/>
                  </a:lnTo>
                  <a:lnTo>
                    <a:pt x="1603" y="2642"/>
                  </a:lnTo>
                  <a:lnTo>
                    <a:pt x="1598" y="2713"/>
                  </a:lnTo>
                  <a:lnTo>
                    <a:pt x="1598" y="2751"/>
                  </a:lnTo>
                  <a:lnTo>
                    <a:pt x="1593" y="2786"/>
                  </a:lnTo>
                  <a:lnTo>
                    <a:pt x="1603" y="2806"/>
                  </a:lnTo>
                  <a:lnTo>
                    <a:pt x="1588" y="2889"/>
                  </a:lnTo>
                  <a:lnTo>
                    <a:pt x="1571" y="2925"/>
                  </a:lnTo>
                  <a:lnTo>
                    <a:pt x="1578" y="2950"/>
                  </a:lnTo>
                  <a:lnTo>
                    <a:pt x="1593" y="2983"/>
                  </a:lnTo>
                  <a:lnTo>
                    <a:pt x="1677" y="3018"/>
                  </a:lnTo>
                  <a:lnTo>
                    <a:pt x="1656" y="2998"/>
                  </a:lnTo>
                  <a:lnTo>
                    <a:pt x="1654" y="2993"/>
                  </a:lnTo>
                  <a:lnTo>
                    <a:pt x="1679" y="3018"/>
                  </a:lnTo>
                  <a:lnTo>
                    <a:pt x="1651" y="2960"/>
                  </a:lnTo>
                  <a:lnTo>
                    <a:pt x="1671" y="2927"/>
                  </a:lnTo>
                  <a:lnTo>
                    <a:pt x="1694" y="2894"/>
                  </a:lnTo>
                  <a:lnTo>
                    <a:pt x="1702" y="2862"/>
                  </a:lnTo>
                  <a:lnTo>
                    <a:pt x="1689" y="2847"/>
                  </a:lnTo>
                  <a:lnTo>
                    <a:pt x="1687" y="2824"/>
                  </a:lnTo>
                  <a:lnTo>
                    <a:pt x="1722" y="2781"/>
                  </a:lnTo>
                  <a:lnTo>
                    <a:pt x="1740" y="2741"/>
                  </a:lnTo>
                  <a:lnTo>
                    <a:pt x="1727" y="2726"/>
                  </a:lnTo>
                  <a:lnTo>
                    <a:pt x="1752" y="2715"/>
                  </a:lnTo>
                  <a:lnTo>
                    <a:pt x="1780" y="2673"/>
                  </a:lnTo>
                  <a:lnTo>
                    <a:pt x="1828" y="2655"/>
                  </a:lnTo>
                  <a:lnTo>
                    <a:pt x="1848" y="2642"/>
                  </a:lnTo>
                  <a:lnTo>
                    <a:pt x="1856" y="2605"/>
                  </a:lnTo>
                  <a:lnTo>
                    <a:pt x="1840" y="2594"/>
                  </a:lnTo>
                  <a:lnTo>
                    <a:pt x="1840" y="2584"/>
                  </a:lnTo>
                  <a:lnTo>
                    <a:pt x="1850" y="2594"/>
                  </a:lnTo>
                  <a:lnTo>
                    <a:pt x="1876" y="2599"/>
                  </a:lnTo>
                  <a:lnTo>
                    <a:pt x="1901" y="2579"/>
                  </a:lnTo>
                  <a:lnTo>
                    <a:pt x="1906" y="2569"/>
                  </a:lnTo>
                  <a:lnTo>
                    <a:pt x="1903" y="2559"/>
                  </a:lnTo>
                  <a:lnTo>
                    <a:pt x="1906" y="2569"/>
                  </a:lnTo>
                  <a:lnTo>
                    <a:pt x="1914" y="2552"/>
                  </a:lnTo>
                  <a:lnTo>
                    <a:pt x="1934" y="2531"/>
                  </a:lnTo>
                  <a:lnTo>
                    <a:pt x="1959" y="2506"/>
                  </a:lnTo>
                  <a:lnTo>
                    <a:pt x="1982" y="2438"/>
                  </a:lnTo>
                  <a:lnTo>
                    <a:pt x="1997" y="2408"/>
                  </a:lnTo>
                  <a:lnTo>
                    <a:pt x="2055" y="2373"/>
                  </a:lnTo>
                  <a:lnTo>
                    <a:pt x="2090" y="2368"/>
                  </a:lnTo>
                  <a:lnTo>
                    <a:pt x="2100" y="2362"/>
                  </a:lnTo>
                  <a:lnTo>
                    <a:pt x="2110" y="2342"/>
                  </a:lnTo>
                  <a:lnTo>
                    <a:pt x="2118" y="2320"/>
                  </a:lnTo>
                  <a:lnTo>
                    <a:pt x="2133" y="2294"/>
                  </a:lnTo>
                  <a:lnTo>
                    <a:pt x="2138" y="2284"/>
                  </a:lnTo>
                  <a:lnTo>
                    <a:pt x="2143" y="2196"/>
                  </a:lnTo>
                  <a:lnTo>
                    <a:pt x="2158" y="2191"/>
                  </a:lnTo>
                  <a:lnTo>
                    <a:pt x="2211" y="2125"/>
                  </a:lnTo>
                  <a:lnTo>
                    <a:pt x="2211" y="2110"/>
                  </a:lnTo>
                  <a:lnTo>
                    <a:pt x="2201" y="2073"/>
                  </a:lnTo>
                  <a:close/>
                  <a:moveTo>
                    <a:pt x="1440" y="567"/>
                  </a:moveTo>
                  <a:lnTo>
                    <a:pt x="1445" y="570"/>
                  </a:lnTo>
                  <a:lnTo>
                    <a:pt x="1447" y="570"/>
                  </a:lnTo>
                  <a:lnTo>
                    <a:pt x="1450" y="572"/>
                  </a:lnTo>
                  <a:lnTo>
                    <a:pt x="1455" y="575"/>
                  </a:lnTo>
                  <a:lnTo>
                    <a:pt x="1457" y="575"/>
                  </a:lnTo>
                  <a:lnTo>
                    <a:pt x="1462" y="577"/>
                  </a:lnTo>
                  <a:lnTo>
                    <a:pt x="1467" y="577"/>
                  </a:lnTo>
                  <a:lnTo>
                    <a:pt x="1470" y="580"/>
                  </a:lnTo>
                  <a:lnTo>
                    <a:pt x="1472" y="580"/>
                  </a:lnTo>
                  <a:lnTo>
                    <a:pt x="1475" y="577"/>
                  </a:lnTo>
                  <a:lnTo>
                    <a:pt x="1475" y="575"/>
                  </a:lnTo>
                  <a:lnTo>
                    <a:pt x="1477" y="575"/>
                  </a:lnTo>
                  <a:lnTo>
                    <a:pt x="1480" y="570"/>
                  </a:lnTo>
                  <a:lnTo>
                    <a:pt x="1482" y="567"/>
                  </a:lnTo>
                  <a:lnTo>
                    <a:pt x="1480" y="565"/>
                  </a:lnTo>
                  <a:lnTo>
                    <a:pt x="1475" y="565"/>
                  </a:lnTo>
                  <a:lnTo>
                    <a:pt x="1472" y="562"/>
                  </a:lnTo>
                  <a:lnTo>
                    <a:pt x="1457" y="562"/>
                  </a:lnTo>
                  <a:lnTo>
                    <a:pt x="1455" y="560"/>
                  </a:lnTo>
                  <a:lnTo>
                    <a:pt x="1452" y="555"/>
                  </a:lnTo>
                  <a:lnTo>
                    <a:pt x="1450" y="550"/>
                  </a:lnTo>
                  <a:lnTo>
                    <a:pt x="1447" y="545"/>
                  </a:lnTo>
                  <a:lnTo>
                    <a:pt x="1442" y="545"/>
                  </a:lnTo>
                  <a:lnTo>
                    <a:pt x="1435" y="542"/>
                  </a:lnTo>
                  <a:lnTo>
                    <a:pt x="1429" y="540"/>
                  </a:lnTo>
                  <a:lnTo>
                    <a:pt x="1424" y="540"/>
                  </a:lnTo>
                  <a:lnTo>
                    <a:pt x="1419" y="540"/>
                  </a:lnTo>
                  <a:lnTo>
                    <a:pt x="1417" y="540"/>
                  </a:lnTo>
                  <a:lnTo>
                    <a:pt x="1414" y="542"/>
                  </a:lnTo>
                  <a:lnTo>
                    <a:pt x="1412" y="545"/>
                  </a:lnTo>
                  <a:lnTo>
                    <a:pt x="1409" y="545"/>
                  </a:lnTo>
                  <a:lnTo>
                    <a:pt x="1409" y="542"/>
                  </a:lnTo>
                  <a:lnTo>
                    <a:pt x="1407" y="535"/>
                  </a:lnTo>
                  <a:lnTo>
                    <a:pt x="1404" y="529"/>
                  </a:lnTo>
                  <a:lnTo>
                    <a:pt x="1402" y="527"/>
                  </a:lnTo>
                  <a:lnTo>
                    <a:pt x="1399" y="524"/>
                  </a:lnTo>
                  <a:lnTo>
                    <a:pt x="1394" y="524"/>
                  </a:lnTo>
                  <a:lnTo>
                    <a:pt x="1392" y="524"/>
                  </a:lnTo>
                  <a:lnTo>
                    <a:pt x="1392" y="529"/>
                  </a:lnTo>
                  <a:lnTo>
                    <a:pt x="1392" y="535"/>
                  </a:lnTo>
                  <a:lnTo>
                    <a:pt x="1392" y="542"/>
                  </a:lnTo>
                  <a:lnTo>
                    <a:pt x="1392" y="547"/>
                  </a:lnTo>
                  <a:lnTo>
                    <a:pt x="1392" y="550"/>
                  </a:lnTo>
                  <a:lnTo>
                    <a:pt x="1394" y="552"/>
                  </a:lnTo>
                  <a:lnTo>
                    <a:pt x="1394" y="555"/>
                  </a:lnTo>
                  <a:lnTo>
                    <a:pt x="1394" y="560"/>
                  </a:lnTo>
                  <a:lnTo>
                    <a:pt x="1394" y="565"/>
                  </a:lnTo>
                  <a:lnTo>
                    <a:pt x="1394" y="570"/>
                  </a:lnTo>
                  <a:lnTo>
                    <a:pt x="1397" y="575"/>
                  </a:lnTo>
                  <a:lnTo>
                    <a:pt x="1397" y="577"/>
                  </a:lnTo>
                  <a:lnTo>
                    <a:pt x="1394" y="577"/>
                  </a:lnTo>
                  <a:lnTo>
                    <a:pt x="1392" y="580"/>
                  </a:lnTo>
                  <a:lnTo>
                    <a:pt x="1389" y="585"/>
                  </a:lnTo>
                  <a:lnTo>
                    <a:pt x="1387" y="587"/>
                  </a:lnTo>
                  <a:lnTo>
                    <a:pt x="1384" y="590"/>
                  </a:lnTo>
                  <a:lnTo>
                    <a:pt x="1387" y="593"/>
                  </a:lnTo>
                  <a:lnTo>
                    <a:pt x="1392" y="593"/>
                  </a:lnTo>
                  <a:lnTo>
                    <a:pt x="1397" y="590"/>
                  </a:lnTo>
                  <a:lnTo>
                    <a:pt x="1399" y="590"/>
                  </a:lnTo>
                  <a:lnTo>
                    <a:pt x="1402" y="590"/>
                  </a:lnTo>
                  <a:lnTo>
                    <a:pt x="1407" y="590"/>
                  </a:lnTo>
                  <a:lnTo>
                    <a:pt x="1409" y="590"/>
                  </a:lnTo>
                  <a:lnTo>
                    <a:pt x="1412" y="593"/>
                  </a:lnTo>
                  <a:lnTo>
                    <a:pt x="1414" y="598"/>
                  </a:lnTo>
                  <a:lnTo>
                    <a:pt x="1414" y="600"/>
                  </a:lnTo>
                  <a:lnTo>
                    <a:pt x="1417" y="603"/>
                  </a:lnTo>
                  <a:lnTo>
                    <a:pt x="1419" y="603"/>
                  </a:lnTo>
                  <a:lnTo>
                    <a:pt x="1424" y="600"/>
                  </a:lnTo>
                  <a:lnTo>
                    <a:pt x="1424" y="598"/>
                  </a:lnTo>
                  <a:lnTo>
                    <a:pt x="1427" y="595"/>
                  </a:lnTo>
                  <a:lnTo>
                    <a:pt x="1427" y="593"/>
                  </a:lnTo>
                  <a:lnTo>
                    <a:pt x="1429" y="590"/>
                  </a:lnTo>
                  <a:lnTo>
                    <a:pt x="1435" y="587"/>
                  </a:lnTo>
                  <a:lnTo>
                    <a:pt x="1437" y="585"/>
                  </a:lnTo>
                  <a:lnTo>
                    <a:pt x="1437" y="580"/>
                  </a:lnTo>
                  <a:lnTo>
                    <a:pt x="1437" y="575"/>
                  </a:lnTo>
                  <a:lnTo>
                    <a:pt x="1435" y="570"/>
                  </a:lnTo>
                  <a:lnTo>
                    <a:pt x="1437" y="567"/>
                  </a:lnTo>
                  <a:lnTo>
                    <a:pt x="1440" y="567"/>
                  </a:lnTo>
                  <a:close/>
                  <a:moveTo>
                    <a:pt x="966" y="300"/>
                  </a:moveTo>
                  <a:lnTo>
                    <a:pt x="968" y="303"/>
                  </a:lnTo>
                  <a:lnTo>
                    <a:pt x="971" y="310"/>
                  </a:lnTo>
                  <a:lnTo>
                    <a:pt x="973" y="323"/>
                  </a:lnTo>
                  <a:lnTo>
                    <a:pt x="973" y="330"/>
                  </a:lnTo>
                  <a:lnTo>
                    <a:pt x="973" y="335"/>
                  </a:lnTo>
                  <a:lnTo>
                    <a:pt x="978" y="338"/>
                  </a:lnTo>
                  <a:lnTo>
                    <a:pt x="983" y="335"/>
                  </a:lnTo>
                  <a:lnTo>
                    <a:pt x="986" y="333"/>
                  </a:lnTo>
                  <a:lnTo>
                    <a:pt x="988" y="330"/>
                  </a:lnTo>
                  <a:lnTo>
                    <a:pt x="991" y="333"/>
                  </a:lnTo>
                  <a:lnTo>
                    <a:pt x="996" y="335"/>
                  </a:lnTo>
                  <a:lnTo>
                    <a:pt x="998" y="338"/>
                  </a:lnTo>
                  <a:lnTo>
                    <a:pt x="1003" y="335"/>
                  </a:lnTo>
                  <a:lnTo>
                    <a:pt x="1006" y="330"/>
                  </a:lnTo>
                  <a:lnTo>
                    <a:pt x="1011" y="323"/>
                  </a:lnTo>
                  <a:lnTo>
                    <a:pt x="1016" y="320"/>
                  </a:lnTo>
                  <a:lnTo>
                    <a:pt x="1024" y="318"/>
                  </a:lnTo>
                  <a:lnTo>
                    <a:pt x="1026" y="315"/>
                  </a:lnTo>
                  <a:lnTo>
                    <a:pt x="1026" y="310"/>
                  </a:lnTo>
                  <a:lnTo>
                    <a:pt x="1026" y="305"/>
                  </a:lnTo>
                  <a:lnTo>
                    <a:pt x="1029" y="305"/>
                  </a:lnTo>
                  <a:lnTo>
                    <a:pt x="1039" y="303"/>
                  </a:lnTo>
                  <a:lnTo>
                    <a:pt x="1044" y="300"/>
                  </a:lnTo>
                  <a:lnTo>
                    <a:pt x="1049" y="300"/>
                  </a:lnTo>
                  <a:lnTo>
                    <a:pt x="1054" y="298"/>
                  </a:lnTo>
                  <a:lnTo>
                    <a:pt x="1059" y="295"/>
                  </a:lnTo>
                  <a:lnTo>
                    <a:pt x="1064" y="295"/>
                  </a:lnTo>
                  <a:lnTo>
                    <a:pt x="1066" y="292"/>
                  </a:lnTo>
                  <a:lnTo>
                    <a:pt x="1066" y="290"/>
                  </a:lnTo>
                  <a:lnTo>
                    <a:pt x="1069" y="287"/>
                  </a:lnTo>
                  <a:lnTo>
                    <a:pt x="1066" y="285"/>
                  </a:lnTo>
                  <a:lnTo>
                    <a:pt x="1066" y="277"/>
                  </a:lnTo>
                  <a:lnTo>
                    <a:pt x="1064" y="270"/>
                  </a:lnTo>
                  <a:lnTo>
                    <a:pt x="1059" y="265"/>
                  </a:lnTo>
                  <a:lnTo>
                    <a:pt x="1056" y="262"/>
                  </a:lnTo>
                  <a:lnTo>
                    <a:pt x="1054" y="262"/>
                  </a:lnTo>
                  <a:lnTo>
                    <a:pt x="1049" y="262"/>
                  </a:lnTo>
                  <a:lnTo>
                    <a:pt x="1046" y="262"/>
                  </a:lnTo>
                  <a:lnTo>
                    <a:pt x="1044" y="257"/>
                  </a:lnTo>
                  <a:lnTo>
                    <a:pt x="1041" y="255"/>
                  </a:lnTo>
                  <a:lnTo>
                    <a:pt x="1039" y="250"/>
                  </a:lnTo>
                  <a:lnTo>
                    <a:pt x="1031" y="247"/>
                  </a:lnTo>
                  <a:lnTo>
                    <a:pt x="1026" y="247"/>
                  </a:lnTo>
                  <a:lnTo>
                    <a:pt x="1021" y="247"/>
                  </a:lnTo>
                  <a:lnTo>
                    <a:pt x="1019" y="245"/>
                  </a:lnTo>
                  <a:lnTo>
                    <a:pt x="1016" y="242"/>
                  </a:lnTo>
                  <a:lnTo>
                    <a:pt x="1011" y="242"/>
                  </a:lnTo>
                  <a:lnTo>
                    <a:pt x="1008" y="240"/>
                  </a:lnTo>
                  <a:lnTo>
                    <a:pt x="1006" y="242"/>
                  </a:lnTo>
                  <a:lnTo>
                    <a:pt x="1006" y="245"/>
                  </a:lnTo>
                  <a:lnTo>
                    <a:pt x="1006" y="250"/>
                  </a:lnTo>
                  <a:lnTo>
                    <a:pt x="1003" y="255"/>
                  </a:lnTo>
                  <a:lnTo>
                    <a:pt x="1003" y="257"/>
                  </a:lnTo>
                  <a:lnTo>
                    <a:pt x="998" y="260"/>
                  </a:lnTo>
                  <a:lnTo>
                    <a:pt x="993" y="267"/>
                  </a:lnTo>
                  <a:lnTo>
                    <a:pt x="986" y="272"/>
                  </a:lnTo>
                  <a:lnTo>
                    <a:pt x="983" y="277"/>
                  </a:lnTo>
                  <a:lnTo>
                    <a:pt x="978" y="282"/>
                  </a:lnTo>
                  <a:lnTo>
                    <a:pt x="971" y="287"/>
                  </a:lnTo>
                  <a:lnTo>
                    <a:pt x="966" y="295"/>
                  </a:lnTo>
                  <a:lnTo>
                    <a:pt x="963" y="300"/>
                  </a:lnTo>
                  <a:lnTo>
                    <a:pt x="966" y="300"/>
                  </a:lnTo>
                  <a:close/>
                  <a:moveTo>
                    <a:pt x="1498" y="494"/>
                  </a:moveTo>
                  <a:lnTo>
                    <a:pt x="1498" y="494"/>
                  </a:lnTo>
                  <a:lnTo>
                    <a:pt x="1498" y="492"/>
                  </a:lnTo>
                  <a:lnTo>
                    <a:pt x="1498" y="489"/>
                  </a:lnTo>
                  <a:lnTo>
                    <a:pt x="1495" y="489"/>
                  </a:lnTo>
                  <a:lnTo>
                    <a:pt x="1495" y="492"/>
                  </a:lnTo>
                  <a:lnTo>
                    <a:pt x="1498" y="494"/>
                  </a:lnTo>
                  <a:close/>
                </a:path>
              </a:pathLst>
            </a:custGeom>
            <a:solidFill>
              <a:srgbClr val="DDDDDD"/>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0246" name="Freeform 8"/>
            <p:cNvSpPr>
              <a:spLocks/>
            </p:cNvSpPr>
            <p:nvPr/>
          </p:nvSpPr>
          <p:spPr bwMode="auto">
            <a:xfrm>
              <a:off x="3218" y="2127"/>
              <a:ext cx="46" cy="28"/>
            </a:xfrm>
            <a:custGeom>
              <a:avLst/>
              <a:gdLst>
                <a:gd name="T0" fmla="*/ 0 w 46"/>
                <a:gd name="T1" fmla="*/ 15 h 28"/>
                <a:gd name="T2" fmla="*/ 3 w 46"/>
                <a:gd name="T3" fmla="*/ 17 h 28"/>
                <a:gd name="T4" fmla="*/ 12 w 46"/>
                <a:gd name="T5" fmla="*/ 14 h 28"/>
                <a:gd name="T6" fmla="*/ 13 w 46"/>
                <a:gd name="T7" fmla="*/ 8 h 28"/>
                <a:gd name="T8" fmla="*/ 27 w 46"/>
                <a:gd name="T9" fmla="*/ 9 h 28"/>
                <a:gd name="T10" fmla="*/ 46 w 46"/>
                <a:gd name="T11" fmla="*/ 0 h 28"/>
                <a:gd name="T12" fmla="*/ 46 w 46"/>
                <a:gd name="T13" fmla="*/ 1 h 28"/>
                <a:gd name="T14" fmla="*/ 33 w 46"/>
                <a:gd name="T15" fmla="*/ 11 h 28"/>
                <a:gd name="T16" fmla="*/ 36 w 46"/>
                <a:gd name="T17" fmla="*/ 18 h 28"/>
                <a:gd name="T18" fmla="*/ 27 w 46"/>
                <a:gd name="T19" fmla="*/ 21 h 28"/>
                <a:gd name="T20" fmla="*/ 15 w 46"/>
                <a:gd name="T21" fmla="*/ 28 h 28"/>
                <a:gd name="T22" fmla="*/ 13 w 46"/>
                <a:gd name="T23" fmla="*/ 28 h 28"/>
                <a:gd name="T24" fmla="*/ 8 w 46"/>
                <a:gd name="T25" fmla="*/ 26 h 28"/>
                <a:gd name="T26" fmla="*/ 2 w 46"/>
                <a:gd name="T27" fmla="*/ 23 h 28"/>
                <a:gd name="T28" fmla="*/ 0 w 46"/>
                <a:gd name="T29" fmla="*/ 15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rgbClr val="DDDDDD"/>
            </a:solidFill>
            <a:ln>
              <a:noFill/>
            </a:ln>
            <a:effectLst/>
            <a:extLst>
              <a:ext uri="{91240B29-F687-4F45-9708-019B960494DF}">
                <a14:hiddenLine xmlns:a14="http://schemas.microsoft.com/office/drawing/2010/main" w="9525" cap="flat" cmpd="sng">
                  <a:solidFill>
                    <a:schemeClr val="bg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7" name="Rectangle 6"/>
          <p:cNvSpPr/>
          <p:nvPr/>
        </p:nvSpPr>
        <p:spPr>
          <a:xfrm>
            <a:off x="396536" y="4408805"/>
            <a:ext cx="8382000" cy="2003625"/>
          </a:xfrm>
          <a:prstGeom prst="rect">
            <a:avLst/>
          </a:prstGeom>
          <a:solidFill>
            <a:srgbClr val="FFFFFF"/>
          </a:solidFill>
          <a:effectLst>
            <a:outerShdw blurRad="50800" dist="38100" dir="5400000" algn="t" rotWithShape="0">
              <a:prstClr val="black">
                <a:alpha val="40000"/>
              </a:prstClr>
            </a:outerShdw>
            <a:softEdge rad="31750"/>
          </a:effectLst>
        </p:spPr>
        <p:txBody>
          <a:bodyPr wrap="square">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altLang="en-US" sz="4600" b="0" i="0" u="none" strike="noStrike" kern="0" cap="none" spc="0" normalizeH="0" baseline="0" noProof="0" dirty="0" smtClean="0">
                <a:ln>
                  <a:noFill/>
                </a:ln>
                <a:effectLst/>
                <a:uLnTx/>
                <a:uFillTx/>
                <a:latin typeface="Roboto" panose="02000000000000000000" pitchFamily="2" charset="0"/>
                <a:ea typeface="Roboto" panose="02000000000000000000" pitchFamily="2" charset="0"/>
                <a:cs typeface="Roboto" panose="02000000000000000000" pitchFamily="2" charset="0"/>
              </a:rPr>
              <a:t>International recommendations on the identification of difficult to treat populations</a:t>
            </a:r>
          </a:p>
        </p:txBody>
      </p:sp>
    </p:spTree>
    <p:extLst>
      <p:ext uri="{BB962C8B-B14F-4D97-AF65-F5344CB8AC3E}">
        <p14:creationId xmlns:p14="http://schemas.microsoft.com/office/powerpoint/2010/main" val="60542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143" y="0"/>
            <a:ext cx="9221100" cy="6858000"/>
          </a:xfrm>
          <a:prstGeom prst="rect">
            <a:avLst/>
          </a:prstGeom>
        </p:spPr>
      </p:pic>
      <p:sp>
        <p:nvSpPr>
          <p:cNvPr id="3" name="Rectangle 2"/>
          <p:cNvSpPr/>
          <p:nvPr/>
        </p:nvSpPr>
        <p:spPr>
          <a:xfrm>
            <a:off x="6056086" y="174172"/>
            <a:ext cx="2971800" cy="3083921"/>
          </a:xfrm>
          <a:prstGeom prst="rect">
            <a:avLst/>
          </a:prstGeom>
          <a:solidFill>
            <a:srgbClr val="FFC000"/>
          </a:solidFill>
        </p:spPr>
        <p:txBody>
          <a:bodyPr wrap="square">
            <a:spAutoFit/>
          </a:bodyPr>
          <a:lstStyle/>
          <a:p>
            <a:pPr>
              <a:lnSpc>
                <a:spcPct val="90000"/>
              </a:lnSpc>
            </a:pPr>
            <a:r>
              <a:rPr lang="en-US" altLang="en-US" sz="3600" dirty="0">
                <a:latin typeface="Roboto" panose="02000000000000000000" pitchFamily="2" charset="0"/>
                <a:ea typeface="Roboto" panose="02000000000000000000" pitchFamily="2" charset="0"/>
                <a:cs typeface="Roboto" panose="02000000000000000000" pitchFamily="2" charset="0"/>
              </a:rPr>
              <a:t>Model for management of other diseases in mobile populations</a:t>
            </a:r>
          </a:p>
        </p:txBody>
      </p:sp>
      <p:sp>
        <p:nvSpPr>
          <p:cNvPr id="5" name="TextBox 4"/>
          <p:cNvSpPr txBox="1"/>
          <p:nvPr/>
        </p:nvSpPr>
        <p:spPr>
          <a:xfrm>
            <a:off x="7349046" y="6465065"/>
            <a:ext cx="1890197" cy="338554"/>
          </a:xfrm>
          <a:prstGeom prst="rect">
            <a:avLst/>
          </a:prstGeom>
          <a:noFill/>
        </p:spPr>
        <p:txBody>
          <a:bodyPr wrap="none" rtlCol="0">
            <a:spAutoFit/>
          </a:bodyPr>
          <a:lstStyle/>
          <a:p>
            <a:r>
              <a:rPr lang="en-US" sz="1600" b="1" dirty="0" smtClean="0"/>
              <a:t>Photo: E. Zuroweste</a:t>
            </a:r>
            <a:endParaRPr lang="en-US" sz="1600" b="1" dirty="0"/>
          </a:p>
        </p:txBody>
      </p:sp>
    </p:spTree>
    <p:extLst>
      <p:ext uri="{BB962C8B-B14F-4D97-AF65-F5344CB8AC3E}">
        <p14:creationId xmlns:p14="http://schemas.microsoft.com/office/powerpoint/2010/main" val="257302681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762000" y="134778"/>
            <a:ext cx="7093683" cy="923330"/>
          </a:xfrm>
          <a:prstGeom prst="rect">
            <a:avLst/>
          </a:prstGeom>
        </p:spPr>
        <p:txBody>
          <a:bodyPr vert="horz" wrap="square" lIns="0" tIns="0" rIns="0" bIns="0" rtlCol="0" anchor="b" anchorCtr="1">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6000" dirty="0" smtClean="0"/>
              <a:t>Increasing Risks for All</a:t>
            </a:r>
          </a:p>
        </p:txBody>
      </p:sp>
      <p:sp>
        <p:nvSpPr>
          <p:cNvPr id="4" name="Rectangle 3"/>
          <p:cNvSpPr txBox="1">
            <a:spLocks noChangeArrowheads="1"/>
          </p:cNvSpPr>
          <p:nvPr/>
        </p:nvSpPr>
        <p:spPr>
          <a:xfrm>
            <a:off x="228600" y="1378634"/>
            <a:ext cx="8534400" cy="3717941"/>
          </a:xfrm>
          <a:prstGeom prst="rect">
            <a:avLst/>
          </a:prstGeom>
        </p:spPr>
        <p:txBody>
          <a:bodyPr vert="horz" wrap="square" lIns="0" tIns="0" rIns="0" bIns="0" rtlCol="0">
            <a:sp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Tx/>
              <a:buAutoNum type="arabicPeriod"/>
            </a:pPr>
            <a:r>
              <a:rPr lang="en-US" dirty="0" smtClean="0"/>
              <a:t>Failure to develop measures to prevent and treat TB everywhere threatens our ability to control the disease anywhere</a:t>
            </a:r>
          </a:p>
          <a:p>
            <a:pPr marL="514350" indent="-514350">
              <a:buFontTx/>
              <a:buAutoNum type="arabicPeriod"/>
            </a:pPr>
            <a:r>
              <a:rPr lang="en-US" dirty="0" smtClean="0"/>
              <a:t>The elimination of TB in the U.S. will depend increasingly on the elimination of TB among the non-US-born</a:t>
            </a:r>
          </a:p>
          <a:p>
            <a:pPr marL="514350" indent="-514350" algn="ctr">
              <a:buFontTx/>
              <a:buNone/>
            </a:pPr>
            <a:r>
              <a:rPr lang="en-US" sz="3600" dirty="0" smtClean="0"/>
              <a:t>TB ANYWHERE IS TB EVERYWHERE!</a:t>
            </a:r>
          </a:p>
        </p:txBody>
      </p:sp>
      <p:pic>
        <p:nvPicPr>
          <p:cNvPr id="6" name="Picture 2" descr="http://www.oucom.ohiou.edu/tdi/2012Site/Diseases_Info/Topics_International_Health/Images/fig80_stopTB.gif"/>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57600" y="4953000"/>
            <a:ext cx="200025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889832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75458" name="Rectangle 2"/>
          <p:cNvSpPr>
            <a:spLocks noGrp="1" noChangeArrowheads="1"/>
          </p:cNvSpPr>
          <p:nvPr>
            <p:ph type="title"/>
          </p:nvPr>
        </p:nvSpPr>
        <p:spPr>
          <a:xfrm>
            <a:off x="304800" y="304800"/>
            <a:ext cx="8229600" cy="1143000"/>
          </a:xfrm>
        </p:spPr>
        <p:txBody>
          <a:bodyPr/>
          <a:lstStyle/>
          <a:p>
            <a:pPr eaLnBrk="1" hangingPunct="1"/>
            <a:r>
              <a:rPr lang="en-US" altLang="en-US" dirty="0" smtClean="0">
                <a:solidFill>
                  <a:srgbClr val="F7F7F7"/>
                </a:solidFill>
              </a:rPr>
              <a:t>Contact Us</a:t>
            </a:r>
          </a:p>
        </p:txBody>
      </p:sp>
      <p:sp>
        <p:nvSpPr>
          <p:cNvPr id="275459" name="Rectangle 3"/>
          <p:cNvSpPr>
            <a:spLocks noGrp="1" noChangeArrowheads="1"/>
          </p:cNvSpPr>
          <p:nvPr>
            <p:ph type="body" idx="1"/>
          </p:nvPr>
        </p:nvSpPr>
        <p:spPr/>
        <p:txBody>
          <a:bodyPr/>
          <a:lstStyle/>
          <a:p>
            <a:pPr eaLnBrk="1" hangingPunct="1">
              <a:lnSpc>
                <a:spcPct val="80000"/>
              </a:lnSpc>
            </a:pPr>
            <a:r>
              <a:rPr lang="en-US" altLang="en-US" sz="2400" dirty="0" smtClean="0">
                <a:solidFill>
                  <a:schemeClr val="bg1"/>
                </a:solidFill>
              </a:rPr>
              <a:t>Health Network telephone:  </a:t>
            </a:r>
          </a:p>
          <a:p>
            <a:pPr eaLnBrk="1" hangingPunct="1">
              <a:lnSpc>
                <a:spcPct val="80000"/>
              </a:lnSpc>
              <a:buFontTx/>
              <a:buNone/>
            </a:pPr>
            <a:r>
              <a:rPr lang="en-US" altLang="en-US" sz="2400" dirty="0" smtClean="0">
                <a:solidFill>
                  <a:schemeClr val="bg1"/>
                </a:solidFill>
              </a:rPr>
              <a:t>				 800-825-8205 (U.S.)</a:t>
            </a:r>
          </a:p>
          <a:p>
            <a:pPr eaLnBrk="1" hangingPunct="1">
              <a:lnSpc>
                <a:spcPct val="80000"/>
              </a:lnSpc>
              <a:buFontTx/>
              <a:buNone/>
            </a:pPr>
            <a:r>
              <a:rPr lang="en-US" altLang="en-US" sz="2400" dirty="0" smtClean="0">
                <a:solidFill>
                  <a:schemeClr val="bg1"/>
                </a:solidFill>
              </a:rPr>
              <a:t>				 01-800-681-9508 (from Mexico)</a:t>
            </a:r>
          </a:p>
          <a:p>
            <a:pPr eaLnBrk="1" hangingPunct="1">
              <a:lnSpc>
                <a:spcPct val="80000"/>
              </a:lnSpc>
              <a:buFontTx/>
              <a:buNone/>
            </a:pPr>
            <a:endParaRPr lang="en-US" altLang="en-US" sz="2400" dirty="0" smtClean="0">
              <a:solidFill>
                <a:schemeClr val="bg1"/>
              </a:solidFill>
            </a:endParaRPr>
          </a:p>
          <a:p>
            <a:pPr eaLnBrk="1" hangingPunct="1">
              <a:lnSpc>
                <a:spcPct val="80000"/>
              </a:lnSpc>
            </a:pPr>
            <a:r>
              <a:rPr lang="en-US" altLang="en-US" sz="2400" dirty="0" smtClean="0">
                <a:solidFill>
                  <a:schemeClr val="bg1"/>
                </a:solidFill>
              </a:rPr>
              <a:t>Health Network fax:  512-327-6140</a:t>
            </a:r>
          </a:p>
          <a:p>
            <a:pPr eaLnBrk="1" hangingPunct="1">
              <a:lnSpc>
                <a:spcPct val="80000"/>
              </a:lnSpc>
            </a:pPr>
            <a:endParaRPr lang="en-US" altLang="en-US" sz="2400" dirty="0" smtClean="0">
              <a:solidFill>
                <a:schemeClr val="bg1"/>
              </a:solidFill>
            </a:endParaRPr>
          </a:p>
          <a:p>
            <a:pPr eaLnBrk="1" hangingPunct="1">
              <a:lnSpc>
                <a:spcPct val="80000"/>
              </a:lnSpc>
            </a:pPr>
            <a:r>
              <a:rPr lang="en-US" altLang="en-US" sz="2400" dirty="0" smtClean="0">
                <a:solidFill>
                  <a:schemeClr val="bg1"/>
                </a:solidFill>
              </a:rPr>
              <a:t>MCN website:  </a:t>
            </a:r>
            <a:r>
              <a:rPr lang="en-US" altLang="en-US" sz="2400" dirty="0" smtClean="0">
                <a:solidFill>
                  <a:schemeClr val="bg1"/>
                </a:solidFill>
                <a:hlinkClick r:id="rId3"/>
              </a:rPr>
              <a:t>http://www.migrantclinician.org/</a:t>
            </a:r>
            <a:endParaRPr lang="en-US" altLang="en-US" sz="2400" dirty="0" smtClean="0">
              <a:solidFill>
                <a:schemeClr val="bg1"/>
              </a:solidFill>
            </a:endParaRPr>
          </a:p>
          <a:p>
            <a:pPr eaLnBrk="1" hangingPunct="1">
              <a:lnSpc>
                <a:spcPct val="80000"/>
              </a:lnSpc>
              <a:buFontTx/>
              <a:buNone/>
            </a:pPr>
            <a:endParaRPr lang="en-US" altLang="en-US" sz="2400" dirty="0" smtClean="0">
              <a:solidFill>
                <a:schemeClr val="bg1"/>
              </a:solidFill>
            </a:endParaRPr>
          </a:p>
          <a:p>
            <a:pPr eaLnBrk="1" hangingPunct="1">
              <a:lnSpc>
                <a:spcPct val="80000"/>
              </a:lnSpc>
            </a:pPr>
            <a:r>
              <a:rPr lang="en-US" altLang="en-US" sz="2400" dirty="0" smtClean="0">
                <a:solidFill>
                  <a:schemeClr val="bg1"/>
                </a:solidFill>
              </a:rPr>
              <a:t>If you have additional questions about the program, you may also contact</a:t>
            </a:r>
          </a:p>
          <a:p>
            <a:pPr marL="1371600" lvl="3" indent="0" eaLnBrk="1" hangingPunct="1">
              <a:lnSpc>
                <a:spcPct val="80000"/>
              </a:lnSpc>
              <a:buFontTx/>
              <a:buNone/>
            </a:pPr>
            <a:r>
              <a:rPr lang="en-US" altLang="en-US" sz="2400" dirty="0" smtClean="0">
                <a:solidFill>
                  <a:schemeClr val="bg1"/>
                </a:solidFill>
              </a:rPr>
              <a:t>Ricardo Garay:  512-579-4508 or        rgaray@migrantclinician.org</a:t>
            </a: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Edbabynose"/>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a:xfrm>
            <a:off x="0" y="-1"/>
            <a:ext cx="9144000" cy="6539609"/>
          </a:xfrm>
          <a:prstGeom prst="rect">
            <a:avLst/>
          </a:prstGeom>
          <a:noFill/>
        </p:spPr>
      </p:pic>
      <p:sp>
        <p:nvSpPr>
          <p:cNvPr id="3" name="TextBox 2"/>
          <p:cNvSpPr txBox="1"/>
          <p:nvPr>
            <p:custDataLst>
              <p:tags r:id="rId2"/>
            </p:custDataLst>
          </p:nvPr>
        </p:nvSpPr>
        <p:spPr>
          <a:xfrm>
            <a:off x="6061746" y="228600"/>
            <a:ext cx="3082254" cy="1200329"/>
          </a:xfrm>
          <a:prstGeom prst="rect">
            <a:avLst/>
          </a:prstGeom>
          <a:noFill/>
        </p:spPr>
        <p:txBody>
          <a:bodyPr wrap="none" rtlCol="0">
            <a:spAutoFit/>
          </a:bodyPr>
          <a:lstStyle/>
          <a:p>
            <a:r>
              <a:rPr lang="en-US" sz="7200" dirty="0" smtClean="0"/>
              <a:t>Contact</a:t>
            </a:r>
            <a:endParaRPr lang="en-US" sz="7200" dirty="0"/>
          </a:p>
        </p:txBody>
      </p:sp>
      <p:sp>
        <p:nvSpPr>
          <p:cNvPr id="4" name="TextBox 3"/>
          <p:cNvSpPr txBox="1"/>
          <p:nvPr>
            <p:custDataLst>
              <p:tags r:id="rId3"/>
            </p:custDataLst>
          </p:nvPr>
        </p:nvSpPr>
        <p:spPr>
          <a:xfrm>
            <a:off x="2345" y="5780782"/>
            <a:ext cx="9144000" cy="1077218"/>
          </a:xfrm>
          <a:prstGeom prst="rect">
            <a:avLst/>
          </a:prstGeom>
          <a:solidFill>
            <a:srgbClr val="336699"/>
          </a:solidFill>
        </p:spPr>
        <p:txBody>
          <a:bodyPr wrap="square" rtlCol="0">
            <a:spAutoFit/>
          </a:bodyPr>
          <a:lstStyle/>
          <a:p>
            <a:pPr algn="ctr"/>
            <a:r>
              <a:rPr lang="en-US" sz="3200" dirty="0" smtClean="0">
                <a:solidFill>
                  <a:schemeClr val="bg1"/>
                </a:solidFill>
              </a:rPr>
              <a:t>Ed Zuroweste, MD   814-571-7395 ezuroweste@migrantclinician.org</a:t>
            </a:r>
            <a:endParaRPr lang="en-US" sz="3200" dirty="0">
              <a:solidFill>
                <a:schemeClr val="bg1"/>
              </a:solidFill>
            </a:endParaRPr>
          </a:p>
        </p:txBody>
      </p:sp>
      <p:sp>
        <p:nvSpPr>
          <p:cNvPr id="5" name="Rectangle 7"/>
          <p:cNvSpPr>
            <a:spLocks noChangeArrowheads="1"/>
          </p:cNvSpPr>
          <p:nvPr>
            <p:custDataLst>
              <p:tags r:id="rId4"/>
            </p:custDataLst>
          </p:nvPr>
        </p:nvSpPr>
        <p:spPr bwMode="auto">
          <a:xfrm>
            <a:off x="7876189" y="5503783"/>
            <a:ext cx="125656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sz="1200" dirty="0" smtClean="0">
                <a:solidFill>
                  <a:schemeClr val="bg1"/>
                </a:solidFill>
                <a:ea typeface="ＭＳ Ｐゴシック" pitchFamily="34" charset="-128"/>
              </a:rPr>
              <a:t>© Candace Kugel</a:t>
            </a:r>
            <a:endParaRPr lang="en-US" sz="1200" dirty="0">
              <a:solidFill>
                <a:schemeClr val="bg1"/>
              </a:solidFill>
              <a:ea typeface="ＭＳ Ｐゴシック" pitchFamily="34" charset="-128"/>
            </a:endParaRPr>
          </a:p>
        </p:txBody>
      </p:sp>
    </p:spTree>
    <p:custDataLst>
      <p:tags r:id="rId1"/>
    </p:custDataLst>
    <p:extLst>
      <p:ext uri="{BB962C8B-B14F-4D97-AF65-F5344CB8AC3E}">
        <p14:creationId xmlns:p14="http://schemas.microsoft.com/office/powerpoint/2010/main" val="14897997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457200" y="0"/>
            <a:ext cx="8229600" cy="1143000"/>
          </a:xfrm>
        </p:spPr>
        <p:txBody>
          <a:bodyPr>
            <a:normAutofit/>
          </a:bodyPr>
          <a:lstStyle/>
          <a:p>
            <a:pPr algn="l"/>
            <a:r>
              <a:rPr lang="en-US" dirty="0" smtClean="0"/>
              <a:t>Global Burden of TB, 2015</a:t>
            </a:r>
            <a:br>
              <a:rPr lang="en-US" dirty="0" smtClean="0"/>
            </a:br>
            <a:r>
              <a:rPr lang="en-US" sz="2200" dirty="0" smtClean="0"/>
              <a:t>WHO Global TB Report, 2015</a:t>
            </a:r>
            <a:endParaRPr lang="en-US" sz="2200" dirty="0"/>
          </a:p>
        </p:txBody>
      </p:sp>
      <p:graphicFrame>
        <p:nvGraphicFramePr>
          <p:cNvPr id="4" name="Content Placeholder 3"/>
          <p:cNvGraphicFramePr>
            <a:graphicFrameLocks noGrp="1"/>
          </p:cNvGraphicFramePr>
          <p:nvPr>
            <p:ph idx="1"/>
            <p:custDataLst>
              <p:tags r:id="rId3"/>
            </p:custDataLst>
            <p:extLst>
              <p:ext uri="{D42A27DB-BD31-4B8C-83A1-F6EECF244321}">
                <p14:modId xmlns:p14="http://schemas.microsoft.com/office/powerpoint/2010/main" val="890617466"/>
              </p:ext>
            </p:extLst>
          </p:nvPr>
        </p:nvGraphicFramePr>
        <p:xfrm>
          <a:off x="457200" y="1219200"/>
          <a:ext cx="8229600" cy="3459480"/>
        </p:xfrm>
        <a:graphic>
          <a:graphicData uri="http://schemas.openxmlformats.org/drawingml/2006/table">
            <a:tbl>
              <a:tblPr firstRow="1" bandRow="1">
                <a:tableStyleId>{5C22544A-7EE6-4342-B048-85BDC9FD1C3A}</a:tableStyleId>
              </a:tblPr>
              <a:tblGrid>
                <a:gridCol w="2743200"/>
                <a:gridCol w="2743200"/>
                <a:gridCol w="2743200"/>
              </a:tblGrid>
              <a:tr h="370840">
                <a:tc>
                  <a:txBody>
                    <a:bodyPr/>
                    <a:lstStyle/>
                    <a:p>
                      <a:endParaRPr lang="en-US" dirty="0"/>
                    </a:p>
                  </a:txBody>
                  <a:tcPr>
                    <a:solidFill>
                      <a:schemeClr val="bg1"/>
                    </a:solidFill>
                  </a:tcPr>
                </a:tc>
                <a:tc>
                  <a:txBody>
                    <a:bodyPr/>
                    <a:lstStyle/>
                    <a:p>
                      <a:pPr algn="ctr"/>
                      <a:r>
                        <a:rPr lang="en-US" sz="2000" dirty="0" smtClean="0"/>
                        <a:t>Estimated Number of Cases</a:t>
                      </a:r>
                      <a:endParaRPr lang="en-US" sz="2000" dirty="0"/>
                    </a:p>
                  </a:txBody>
                  <a:tcPr/>
                </a:tc>
                <a:tc>
                  <a:txBody>
                    <a:bodyPr/>
                    <a:lstStyle/>
                    <a:p>
                      <a:pPr algn="ctr"/>
                      <a:r>
                        <a:rPr lang="en-US" sz="2000" dirty="0" smtClean="0"/>
                        <a:t>Estimated Number of Deaths</a:t>
                      </a:r>
                      <a:endParaRPr lang="en-US" sz="2000" dirty="0"/>
                    </a:p>
                  </a:txBody>
                  <a:tcPr/>
                </a:tc>
              </a:tr>
              <a:tr h="899160">
                <a:tc>
                  <a:txBody>
                    <a:bodyPr/>
                    <a:lstStyle/>
                    <a:p>
                      <a:r>
                        <a:rPr lang="en-US" sz="2000" b="1" dirty="0" smtClean="0">
                          <a:solidFill>
                            <a:schemeClr val="bg1"/>
                          </a:solidFill>
                        </a:rPr>
                        <a:t>All forms of TB</a:t>
                      </a:r>
                      <a:endParaRPr lang="en-US" sz="2000" b="1" dirty="0">
                        <a:solidFill>
                          <a:schemeClr val="bg1"/>
                        </a:solidFill>
                      </a:endParaRPr>
                    </a:p>
                  </a:txBody>
                  <a:tcPr>
                    <a:solidFill>
                      <a:schemeClr val="accent3">
                        <a:lumMod val="75000"/>
                      </a:schemeClr>
                    </a:solidFill>
                  </a:tcPr>
                </a:tc>
                <a:tc>
                  <a:txBody>
                    <a:bodyPr/>
                    <a:lstStyle/>
                    <a:p>
                      <a:pPr algn="ctr"/>
                      <a:r>
                        <a:rPr lang="en-US" dirty="0" smtClean="0"/>
                        <a:t>9.6</a:t>
                      </a:r>
                      <a:r>
                        <a:rPr lang="en-US" baseline="0" dirty="0" smtClean="0"/>
                        <a:t> </a:t>
                      </a:r>
                      <a:r>
                        <a:rPr lang="en-US" dirty="0" smtClean="0"/>
                        <a:t>million</a:t>
                      </a:r>
                      <a:endParaRPr lang="en-US" dirty="0"/>
                    </a:p>
                  </a:txBody>
                  <a:tcPr anchor="ctr"/>
                </a:tc>
                <a:tc>
                  <a:txBody>
                    <a:bodyPr/>
                    <a:lstStyle/>
                    <a:p>
                      <a:pPr algn="ctr"/>
                      <a:r>
                        <a:rPr lang="en-US" sz="2000" b="1" dirty="0" smtClean="0"/>
                        <a:t>1.5</a:t>
                      </a:r>
                      <a:r>
                        <a:rPr lang="en-US" sz="2000" b="1" baseline="0" dirty="0" smtClean="0"/>
                        <a:t> million*</a:t>
                      </a:r>
                      <a:endParaRPr lang="en-US" sz="2000" b="1" dirty="0" smtClean="0"/>
                    </a:p>
                  </a:txBody>
                  <a:tcPr anchor="ctr"/>
                </a:tc>
              </a:tr>
              <a:tr h="370840">
                <a:tc>
                  <a:txBody>
                    <a:bodyPr/>
                    <a:lstStyle/>
                    <a:p>
                      <a:r>
                        <a:rPr lang="en-US" sz="2000" b="1" dirty="0" smtClean="0">
                          <a:solidFill>
                            <a:schemeClr val="bg1"/>
                          </a:solidFill>
                        </a:rPr>
                        <a:t>HIV-Associated TB</a:t>
                      </a:r>
                      <a:endParaRPr lang="en-US" sz="2000" b="1" dirty="0">
                        <a:solidFill>
                          <a:schemeClr val="bg1"/>
                        </a:solidFill>
                      </a:endParaRPr>
                    </a:p>
                  </a:txBody>
                  <a:tcPr>
                    <a:solidFill>
                      <a:schemeClr val="accent3">
                        <a:lumMod val="75000"/>
                      </a:schemeClr>
                    </a:solidFill>
                  </a:tcPr>
                </a:tc>
                <a:tc>
                  <a:txBody>
                    <a:bodyPr/>
                    <a:lstStyle/>
                    <a:p>
                      <a:pPr algn="ctr"/>
                      <a:r>
                        <a:rPr lang="en-US" dirty="0" smtClean="0"/>
                        <a:t>1.2 million (12%)</a:t>
                      </a:r>
                      <a:endParaRPr lang="en-US" dirty="0"/>
                    </a:p>
                  </a:txBody>
                  <a:tcPr anchor="ctr"/>
                </a:tc>
                <a:tc>
                  <a:txBody>
                    <a:bodyPr/>
                    <a:lstStyle/>
                    <a:p>
                      <a:pPr algn="ctr"/>
                      <a:endParaRPr lang="en-US" dirty="0" smtClean="0"/>
                    </a:p>
                    <a:p>
                      <a:pPr algn="ctr"/>
                      <a:r>
                        <a:rPr lang="en-US" sz="2000" b="1" dirty="0" smtClean="0"/>
                        <a:t>400,000</a:t>
                      </a:r>
                    </a:p>
                    <a:p>
                      <a:pPr algn="ctr"/>
                      <a:endParaRPr lang="en-US" dirty="0"/>
                    </a:p>
                  </a:txBody>
                  <a:tcPr anchor="ctr"/>
                </a:tc>
              </a:tr>
              <a:tr h="370840">
                <a:tc>
                  <a:txBody>
                    <a:bodyPr/>
                    <a:lstStyle/>
                    <a:p>
                      <a:r>
                        <a:rPr lang="en-US" sz="2000" b="1" dirty="0" smtClean="0">
                          <a:solidFill>
                            <a:schemeClr val="bg1"/>
                          </a:solidFill>
                        </a:rPr>
                        <a:t>Multidrug-resistant TB (MDR-TB)</a:t>
                      </a:r>
                      <a:endParaRPr lang="en-US" sz="2000" b="1" dirty="0">
                        <a:solidFill>
                          <a:schemeClr val="bg1"/>
                        </a:solidFill>
                      </a:endParaRPr>
                    </a:p>
                  </a:txBody>
                  <a:tcPr>
                    <a:solidFill>
                      <a:schemeClr val="accent3">
                        <a:lumMod val="75000"/>
                      </a:schemeClr>
                    </a:solidFill>
                  </a:tcPr>
                </a:tc>
                <a:tc>
                  <a:txBody>
                    <a:bodyPr/>
                    <a:lstStyle/>
                    <a:p>
                      <a:pPr algn="ctr"/>
                      <a:r>
                        <a:rPr lang="en-US" dirty="0" smtClean="0"/>
                        <a:t>480,000</a:t>
                      </a:r>
                      <a:endParaRPr lang="en-US" dirty="0"/>
                    </a:p>
                  </a:txBody>
                  <a:tcPr anchor="ctr"/>
                </a:tc>
                <a:tc>
                  <a:txBody>
                    <a:bodyPr/>
                    <a:lstStyle/>
                    <a:p>
                      <a:pPr algn="ctr"/>
                      <a:endParaRPr lang="en-US" dirty="0" smtClean="0"/>
                    </a:p>
                    <a:p>
                      <a:pPr algn="ctr"/>
                      <a:r>
                        <a:rPr lang="en-US" dirty="0" smtClean="0"/>
                        <a:t>~150,000</a:t>
                      </a:r>
                    </a:p>
                    <a:p>
                      <a:pPr algn="ctr"/>
                      <a:endParaRPr lang="en-US" dirty="0"/>
                    </a:p>
                  </a:txBody>
                  <a:tcPr anchor="ctr"/>
                </a:tc>
              </a:tr>
            </a:tbl>
          </a:graphicData>
        </a:graphic>
      </p:graphicFrame>
      <p:sp>
        <p:nvSpPr>
          <p:cNvPr id="5" name="Rectangle 14"/>
          <p:cNvSpPr>
            <a:spLocks noChangeArrowheads="1"/>
          </p:cNvSpPr>
          <p:nvPr>
            <p:custDataLst>
              <p:tags r:id="rId4"/>
            </p:custDataLst>
          </p:nvPr>
        </p:nvSpPr>
        <p:spPr bwMode="auto">
          <a:xfrm>
            <a:off x="-11723" y="4722262"/>
            <a:ext cx="91440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gn="l" eaLnBrk="1" hangingPunct="1">
              <a:buFont typeface="Arial" panose="020B0604020202020204" pitchFamily="34" charset="0"/>
              <a:buChar char="•"/>
            </a:pPr>
            <a:r>
              <a:rPr lang="en-US" sz="2400" dirty="0">
                <a:latin typeface="Calibri" pitchFamily="34" charset="0"/>
              </a:rPr>
              <a:t>Approx. 1/3 of the world (2 billion people) is infected with </a:t>
            </a:r>
            <a:r>
              <a:rPr lang="en-US" sz="2400" i="1" dirty="0" smtClean="0">
                <a:latin typeface="Calibri" pitchFamily="34" charset="0"/>
              </a:rPr>
              <a:t>M.tb</a:t>
            </a:r>
            <a:endParaRPr lang="en-US" sz="2400" i="1" dirty="0">
              <a:latin typeface="Calibri" pitchFamily="34" charset="0"/>
            </a:endParaRPr>
          </a:p>
          <a:p>
            <a:pPr marL="342900" indent="-342900">
              <a:buFont typeface="Arial" panose="020B0604020202020204" pitchFamily="34" charset="0"/>
              <a:buChar char="•"/>
            </a:pPr>
            <a:r>
              <a:rPr lang="en-US" sz="2400" dirty="0" smtClean="0"/>
              <a:t>Estimated </a:t>
            </a:r>
            <a:r>
              <a:rPr lang="en-US" sz="2400" dirty="0"/>
              <a:t>that </a:t>
            </a:r>
            <a:r>
              <a:rPr lang="en-US" sz="2400" dirty="0" smtClean="0"/>
              <a:t>43 million lives </a:t>
            </a:r>
            <a:r>
              <a:rPr lang="en-US" sz="2400" dirty="0"/>
              <a:t>were saved between 2000 and </a:t>
            </a:r>
            <a:r>
              <a:rPr lang="en-US" sz="2400" dirty="0" smtClean="0"/>
              <a:t>2014 </a:t>
            </a:r>
            <a:r>
              <a:rPr lang="en-US" sz="2400" dirty="0"/>
              <a:t>through </a:t>
            </a:r>
            <a:r>
              <a:rPr lang="en-US" sz="2400" dirty="0" smtClean="0"/>
              <a:t>effective diagnosis </a:t>
            </a:r>
            <a:r>
              <a:rPr lang="en-US" sz="2400" dirty="0"/>
              <a:t>and </a:t>
            </a:r>
            <a:r>
              <a:rPr lang="en-US" sz="2400" dirty="0" smtClean="0"/>
              <a:t>treatment</a:t>
            </a:r>
          </a:p>
          <a:p>
            <a:pPr marL="342900" indent="-342900">
              <a:buFont typeface="Arial" panose="020B0604020202020204" pitchFamily="34" charset="0"/>
              <a:buChar char="•"/>
            </a:pPr>
            <a:r>
              <a:rPr lang="en-US" sz="2400" dirty="0" smtClean="0"/>
              <a:t>*In Children 1,000,000 cases and 140,000 deaths a year</a:t>
            </a:r>
          </a:p>
          <a:p>
            <a:pPr marL="342900" indent="-342900">
              <a:buFont typeface="Arial" panose="020B0604020202020204" pitchFamily="34" charset="0"/>
              <a:buChar char="•"/>
            </a:pPr>
            <a:r>
              <a:rPr lang="en-US" sz="2400" i="1" dirty="0" smtClean="0">
                <a:latin typeface="Calibri" pitchFamily="34" charset="0"/>
              </a:rPr>
              <a:t>**</a:t>
            </a:r>
            <a:r>
              <a:rPr lang="en-US" sz="2400" i="1" dirty="0">
                <a:latin typeface="Calibri" pitchFamily="34" charset="0"/>
              </a:rPr>
              <a:t>Fewer than 25% of those thought to have MDR TB were detected</a:t>
            </a:r>
            <a:r>
              <a:rPr lang="en-US" sz="2400" dirty="0">
                <a:latin typeface="Calibri" pitchFamily="34" charset="0"/>
              </a:rPr>
              <a:t> </a:t>
            </a:r>
          </a:p>
          <a:p>
            <a:pPr marL="342900" indent="-342900" algn="l" eaLnBrk="1" hangingPunct="1">
              <a:buFont typeface="Arial" panose="020B0604020202020204" pitchFamily="34" charset="0"/>
              <a:buChar char="•"/>
            </a:pPr>
            <a:endParaRPr lang="en-US" sz="2400" dirty="0">
              <a:latin typeface="Calibri" pitchFamily="34" charset="0"/>
            </a:endParaRPr>
          </a:p>
        </p:txBody>
      </p:sp>
      <p:sp>
        <p:nvSpPr>
          <p:cNvPr id="6" name="Text Box 15"/>
          <p:cNvSpPr txBox="1">
            <a:spLocks noChangeArrowheads="1"/>
          </p:cNvSpPr>
          <p:nvPr>
            <p:custDataLst>
              <p:tags r:id="rId5"/>
            </p:custDataLst>
          </p:nvPr>
        </p:nvSpPr>
        <p:spPr bwMode="auto">
          <a:xfrm>
            <a:off x="5780088" y="6379285"/>
            <a:ext cx="33639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600">
                <a:solidFill>
                  <a:schemeClr val="tx1"/>
                </a:solidFill>
                <a:latin typeface="Arial" charset="0"/>
              </a:defRPr>
            </a:lvl1pPr>
            <a:lvl2pPr marL="742950" indent="-285750">
              <a:defRPr sz="3600">
                <a:solidFill>
                  <a:schemeClr val="tx1"/>
                </a:solidFill>
                <a:latin typeface="Arial" charset="0"/>
              </a:defRPr>
            </a:lvl2pPr>
            <a:lvl3pPr marL="1143000" indent="-228600">
              <a:defRPr sz="3600">
                <a:solidFill>
                  <a:schemeClr val="tx1"/>
                </a:solidFill>
                <a:latin typeface="Arial" charset="0"/>
              </a:defRPr>
            </a:lvl3pPr>
            <a:lvl4pPr marL="1600200" indent="-228600">
              <a:defRPr sz="3600">
                <a:solidFill>
                  <a:schemeClr val="tx1"/>
                </a:solidFill>
                <a:latin typeface="Arial" charset="0"/>
              </a:defRPr>
            </a:lvl4pPr>
            <a:lvl5pPr marL="2057400" indent="-228600">
              <a:defRPr sz="3600">
                <a:solidFill>
                  <a:schemeClr val="tx1"/>
                </a:solidFill>
                <a:latin typeface="Arial" charset="0"/>
              </a:defRPr>
            </a:lvl5pPr>
            <a:lvl6pPr marL="2514600" indent="-228600" algn="ctr" eaLnBrk="0" fontAlgn="base" hangingPunct="0">
              <a:spcBef>
                <a:spcPct val="0"/>
              </a:spcBef>
              <a:spcAft>
                <a:spcPct val="0"/>
              </a:spcAft>
              <a:defRPr sz="3600">
                <a:solidFill>
                  <a:schemeClr val="tx1"/>
                </a:solidFill>
                <a:latin typeface="Arial" charset="0"/>
              </a:defRPr>
            </a:lvl6pPr>
            <a:lvl7pPr marL="2971800" indent="-228600" algn="ctr" eaLnBrk="0" fontAlgn="base" hangingPunct="0">
              <a:spcBef>
                <a:spcPct val="0"/>
              </a:spcBef>
              <a:spcAft>
                <a:spcPct val="0"/>
              </a:spcAft>
              <a:defRPr sz="3600">
                <a:solidFill>
                  <a:schemeClr val="tx1"/>
                </a:solidFill>
                <a:latin typeface="Arial" charset="0"/>
              </a:defRPr>
            </a:lvl7pPr>
            <a:lvl8pPr marL="3429000" indent="-228600" algn="ctr" eaLnBrk="0" fontAlgn="base" hangingPunct="0">
              <a:spcBef>
                <a:spcPct val="0"/>
              </a:spcBef>
              <a:spcAft>
                <a:spcPct val="0"/>
              </a:spcAft>
              <a:defRPr sz="3600">
                <a:solidFill>
                  <a:schemeClr val="tx1"/>
                </a:solidFill>
                <a:latin typeface="Arial" charset="0"/>
              </a:defRPr>
            </a:lvl8pPr>
            <a:lvl9pPr marL="3886200" indent="-228600" algn="ctr" eaLnBrk="0" fontAlgn="base" hangingPunct="0">
              <a:spcBef>
                <a:spcPct val="0"/>
              </a:spcBef>
              <a:spcAft>
                <a:spcPct val="0"/>
              </a:spcAft>
              <a:defRPr sz="3600">
                <a:solidFill>
                  <a:schemeClr val="tx1"/>
                </a:solidFill>
                <a:latin typeface="Arial" charset="0"/>
              </a:defRPr>
            </a:lvl9pPr>
          </a:lstStyle>
          <a:p>
            <a:pPr algn="r" eaLnBrk="1" hangingPunct="1"/>
            <a:r>
              <a:rPr lang="en-GB" sz="2400" b="1" dirty="0">
                <a:solidFill>
                  <a:srgbClr val="336699"/>
                </a:solidFill>
                <a:latin typeface="Calibri" pitchFamily="34" charset="0"/>
              </a:rPr>
              <a:t>*</a:t>
            </a:r>
            <a:r>
              <a:rPr lang="en-GB" sz="1600" b="1" dirty="0">
                <a:solidFill>
                  <a:srgbClr val="336699"/>
                </a:solidFill>
                <a:latin typeface="Calibri" pitchFamily="34" charset="0"/>
              </a:rPr>
              <a:t>including deaths among PLHIV</a:t>
            </a:r>
          </a:p>
        </p:txBody>
      </p:sp>
    </p:spTree>
    <p:custDataLst>
      <p:tags r:id="rId1"/>
    </p:custDataLst>
    <p:extLst>
      <p:ext uri="{BB962C8B-B14F-4D97-AF65-F5344CB8AC3E}">
        <p14:creationId xmlns:p14="http://schemas.microsoft.com/office/powerpoint/2010/main" val="2527856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1143000"/>
          </a:xfrm>
        </p:spPr>
        <p:txBody>
          <a:bodyPr>
            <a:normAutofit fontScale="90000"/>
          </a:bodyPr>
          <a:lstStyle/>
          <a:p>
            <a:r>
              <a:rPr lang="en-US" b="1" dirty="0" smtClean="0"/>
              <a:t>2015 Tuberculosis Surpassed HIV as the Leading Cause of Death by Infectious Disease</a:t>
            </a:r>
            <a:endParaRPr lang="en-US" b="1"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1676400" y="2334125"/>
            <a:ext cx="5830641" cy="4525963"/>
          </a:xfrm>
        </p:spPr>
      </p:pic>
    </p:spTree>
    <p:extLst>
      <p:ext uri="{BB962C8B-B14F-4D97-AF65-F5344CB8AC3E}">
        <p14:creationId xmlns:p14="http://schemas.microsoft.com/office/powerpoint/2010/main" val="12243730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UIDATA" val="&lt;database version=&quot;8.0&quot;&gt;&lt;object type=&quot;1&quot; unique_id=&quot;10001&quot;&gt;&lt;property id=&quot;20141&quot; value=&quot;ChronicInfDisWebApr2013_V3&quot;/&gt;&lt;property id=&quot;20144&quot; value=&quot;1&quot;/&gt;&lt;property id=&quot;20146&quot; value=&quot;0&quot;/&gt;&lt;property id=&quot;20147&quot; value=&quot;0&quot;/&gt;&lt;property id=&quot;20148&quot; value=&quot;5&quot;/&gt;&lt;property id=&quot;20184&quot; value=&quot;7&quot;/&gt;&lt;property id=&quot;20191&quot; value=&quot;Migrant Clinicians Network&quot;/&gt;&lt;property id=&quot;20192&quot; value=&quot;https://migrantclinician.adobeconnect.com&quot;/&gt;&lt;property id=&quot;20193&quot; value=&quot;0&quot;/&gt;&lt;property id=&quot;20250&quot; value=&quot;6&quot;/&gt;&lt;property id=&quot;20251&quot; value=&quot;0&quot;/&gt;&lt;property id=&quot;20259&quot; value=&quot;0&quot;/&gt;&lt;property id=&quot;20262&quot; value=&quot;1169717861&quot;/&gt;&lt;property id=&quot;20700&quot; value=&quot;0&quot;/&gt;&lt;object type=&quot;2&quot; unique_id=&quot;27234&quot;&gt;&lt;object type=&quot;3&quot; unique_id=&quot;27248&quot;&gt;&lt;property id=&quot;20148&quot; value=&quot;5&quot;/&gt;&lt;property id=&quot;20300&quot; value=&quot;Slide 1&quot;/&gt;&lt;property id=&quot;20303&quot; value=&quot;-1&quot;/&gt;&lt;property id=&quot;20307&quot; value=&quot;257&quot;/&gt;&lt;property id=&quot;20309&quot; value=&quot;-1&quot;/&gt;&lt;/object&gt;&lt;object type=&quot;3&quot; unique_id=&quot;27249&quot;&gt;&lt;property id=&quot;20148&quot; value=&quot;5&quot;/&gt;&lt;property id=&quot;20300&quot; value=&quot;Slide 2&quot;/&gt;&lt;property id=&quot;20303&quot; value=&quot;-1&quot;/&gt;&lt;property id=&quot;20307&quot; value=&quot;258&quot;/&gt;&lt;property id=&quot;20309&quot; value=&quot;-1&quot;/&gt;&lt;/object&gt;&lt;object type=&quot;3&quot; unique_id=&quot;27336&quot;&gt;&lt;property id=&quot;20148&quot; value=&quot;5&quot;/&gt;&lt;property id=&quot;20300&quot; value=&quot;Slide 3&quot;/&gt;&lt;property id=&quot;20303&quot; value=&quot;-1&quot;/&gt;&lt;property id=&quot;20307&quot; value=&quot;259&quot;/&gt;&lt;property id=&quot;20309&quot; value=&quot;-1&quot;/&gt;&lt;/object&gt;&lt;object type=&quot;3&quot; unique_id=&quot;27337&quot;&gt;&lt;property id=&quot;20148&quot; value=&quot;5&quot;/&gt;&lt;property id=&quot;20300&quot; value=&quot;Slide 4&quot;/&gt;&lt;property id=&quot;20303&quot; value=&quot;-1&quot;/&gt;&lt;property id=&quot;20307&quot; value=&quot;260&quot;/&gt;&lt;property id=&quot;20309&quot; value=&quot;-1&quot;/&gt;&lt;/object&gt;&lt;object type=&quot;3&quot; unique_id=&quot;27338&quot;&gt;&lt;property id=&quot;20148&quot; value=&quot;5&quot;/&gt;&lt;property id=&quot;20300&quot; value=&quot;Slide 5&quot;/&gt;&lt;property id=&quot;20303&quot; value=&quot;-1&quot;/&gt;&lt;property id=&quot;20307&quot; value=&quot;261&quot;/&gt;&lt;property id=&quot;20309&quot; value=&quot;-1&quot;/&gt;&lt;/object&gt;&lt;object type=&quot;3&quot; unique_id=&quot;27339&quot;&gt;&lt;property id=&quot;20148&quot; value=&quot;5&quot;/&gt;&lt;property id=&quot;20300&quot; value=&quot;Slide 6&quot;/&gt;&lt;property id=&quot;20303&quot; value=&quot;-1&quot;/&gt;&lt;property id=&quot;20307&quot; value=&quot;262&quot;/&gt;&lt;property id=&quot;20309&quot; value=&quot;-1&quot;/&gt;&lt;/object&gt;&lt;object type=&quot;3&quot; unique_id=&quot;27340&quot;&gt;&lt;property id=&quot;20148&quot; value=&quot;5&quot;/&gt;&lt;property id=&quot;20300&quot; value=&quot;Slide 7&quot;/&gt;&lt;property id=&quot;20303&quot; value=&quot;-1&quot;/&gt;&lt;property id=&quot;20307&quot; value=&quot;263&quot;/&gt;&lt;property id=&quot;20309&quot; value=&quot;-1&quot;/&gt;&lt;/object&gt;&lt;object type=&quot;3&quot; unique_id=&quot;27341&quot;&gt;&lt;property id=&quot;20148&quot; value=&quot;5&quot;/&gt;&lt;property id=&quot;20300&quot; value=&quot;Slide 8&quot;/&gt;&lt;property id=&quot;20303&quot; value=&quot;-1&quot;/&gt;&lt;property id=&quot;20307&quot; value=&quot;264&quot;/&gt;&lt;property id=&quot;20309&quot; value=&quot;-1&quot;/&gt;&lt;/object&gt;&lt;object type=&quot;3&quot; unique_id=&quot;27342&quot;&gt;&lt;property id=&quot;20148&quot; value=&quot;5&quot;/&gt;&lt;property id=&quot;20300&quot; value=&quot;Slide 9&quot;/&gt;&lt;property id=&quot;20303&quot; value=&quot;-1&quot;/&gt;&lt;property id=&quot;20307&quot; value=&quot;265&quot;/&gt;&lt;property id=&quot;20309&quot; value=&quot;-1&quot;/&gt;&lt;/object&gt;&lt;object type=&quot;3&quot; unique_id=&quot;27343&quot;&gt;&lt;property id=&quot;20148&quot; value=&quot;5&quot;/&gt;&lt;property id=&quot;20300&quot; value=&quot;Slide 10&quot;/&gt;&lt;property id=&quot;20303&quot; value=&quot;-1&quot;/&gt;&lt;property id=&quot;20307&quot; value=&quot;266&quot;/&gt;&lt;property id=&quot;20309&quot; value=&quot;-1&quot;/&gt;&lt;/object&gt;&lt;object type=&quot;3&quot; unique_id=&quot;27344&quot;&gt;&lt;property id=&quot;20148&quot; value=&quot;5&quot;/&gt;&lt;property id=&quot;20300&quot; value=&quot;Slide 11&quot;/&gt;&lt;property id=&quot;20303&quot; value=&quot;-1&quot;/&gt;&lt;property id=&quot;20307&quot; value=&quot;267&quot;/&gt;&lt;property id=&quot;20309&quot; value=&quot;-1&quot;/&gt;&lt;/object&gt;&lt;object type=&quot;3&quot; unique_id=&quot;27345&quot;&gt;&lt;property id=&quot;20148&quot; value=&quot;5&quot;/&gt;&lt;property id=&quot;20300&quot; value=&quot;Slide 12&quot;/&gt;&lt;property id=&quot;20303&quot; value=&quot;-1&quot;/&gt;&lt;property id=&quot;20307&quot; value=&quot;268&quot;/&gt;&lt;property id=&quot;20309&quot; value=&quot;-1&quot;/&gt;&lt;/object&gt;&lt;object type=&quot;3&quot; unique_id=&quot;27346&quot;&gt;&lt;property id=&quot;20148&quot; value=&quot;5&quot;/&gt;&lt;property id=&quot;20300&quot; value=&quot;Slide 13&quot;/&gt;&lt;property id=&quot;20303&quot; value=&quot;-1&quot;/&gt;&lt;property id=&quot;20307&quot; value=&quot;269&quot;/&gt;&lt;property id=&quot;20309&quot; value=&quot;-1&quot;/&gt;&lt;/object&gt;&lt;object type=&quot;3&quot; unique_id=&quot;27347&quot;&gt;&lt;property id=&quot;20148&quot; value=&quot;5&quot;/&gt;&lt;property id=&quot;20300&quot; value=&quot;Slide 14&quot;/&gt;&lt;property id=&quot;20303&quot; value=&quot;-1&quot;/&gt;&lt;property id=&quot;20307&quot; value=&quot;270&quot;/&gt;&lt;property id=&quot;20309&quot; value=&quot;-1&quot;/&gt;&lt;/object&gt;&lt;object type=&quot;3&quot; unique_id=&quot;27348&quot;&gt;&lt;property id=&quot;20148&quot; value=&quot;5&quot;/&gt;&lt;property id=&quot;20300&quot; value=&quot;Slide 15&quot;/&gt;&lt;property id=&quot;20303&quot; value=&quot;-1&quot;/&gt;&lt;property id=&quot;20307&quot; value=&quot;271&quot;/&gt;&lt;property id=&quot;20309&quot; value=&quot;-1&quot;/&gt;&lt;/object&gt;&lt;object type=&quot;3&quot; unique_id=&quot;27349&quot;&gt;&lt;property id=&quot;20148&quot; value=&quot;5&quot;/&gt;&lt;property id=&quot;20300&quot; value=&quot;Slide 16&quot;/&gt;&lt;property id=&quot;20303&quot; value=&quot;-1&quot;/&gt;&lt;property id=&quot;20307&quot; value=&quot;272&quot;/&gt;&lt;property id=&quot;20309&quot; value=&quot;-1&quot;/&gt;&lt;/object&gt;&lt;object type=&quot;3&quot; unique_id=&quot;27350&quot;&gt;&lt;property id=&quot;20148&quot; value=&quot;5&quot;/&gt;&lt;property id=&quot;20300&quot; value=&quot;Slide 17&quot;/&gt;&lt;property id=&quot;20303&quot; value=&quot;-1&quot;/&gt;&lt;property id=&quot;20307&quot; value=&quot;273&quot;/&gt;&lt;property id=&quot;20309&quot; value=&quot;-1&quot;/&gt;&lt;/object&gt;&lt;object type=&quot;3&quot; unique_id=&quot;27427&quot;&gt;&lt;property id=&quot;20148&quot; value=&quot;5&quot;/&gt;&lt;property id=&quot;20300&quot; value=&quot;Slide 18 - &amp;quot;Trypanosoma Cruzi,&amp;quot;&quot;/&gt;&lt;property id=&quot;20303&quot; value=&quot;-1&quot;/&gt;&lt;property id=&quot;20307&quot; value=&quot;274&quot;/&gt;&lt;property id=&quot;20309&quot; value=&quot;-1&quot;/&gt;&lt;/object&gt;&lt;object type=&quot;3&quot; unique_id=&quot;27428&quot;&gt;&lt;property id=&quot;20148&quot; value=&quot;5&quot;/&gt;&lt;property id=&quot;20300&quot; value=&quot;Slide 19&quot;/&gt;&lt;property id=&quot;20303&quot; value=&quot;-1&quot;/&gt;&lt;property id=&quot;20307&quot; value=&quot;275&quot;/&gt;&lt;property id=&quot;20309&quot; value=&quot;-1&quot;/&gt;&lt;/object&gt;&lt;object type=&quot;3&quot; unique_id=&quot;27597&quot;&gt;&lt;property id=&quot;20148&quot; value=&quot;5&quot;/&gt;&lt;property id=&quot;20300&quot; value=&quot;Slide 21&quot;/&gt;&lt;property id=&quot;20303&quot; value=&quot;-1&quot;/&gt;&lt;property id=&quot;20307&quot; value=&quot;276&quot;/&gt;&lt;property id=&quot;20309&quot; value=&quot;-1&quot;/&gt;&lt;/object&gt;&lt;object type=&quot;3&quot; unique_id=&quot;27598&quot;&gt;&lt;property id=&quot;20148&quot; value=&quot;5&quot;/&gt;&lt;property id=&quot;20300&quot; value=&quot;Slide 22 - &amp;quot;Case Report Virginia 2012&amp;quot;&quot;/&gt;&lt;property id=&quot;20303&quot; value=&quot;-1&quot;/&gt;&lt;property id=&quot;20307&quot; value=&quot;277&quot;/&gt;&lt;property id=&quot;20309&quot; value=&quot;-1&quot;/&gt;&lt;/object&gt;&lt;object type=&quot;3&quot; unique_id=&quot;27599&quot;&gt;&lt;property id=&quot;20148&quot; value=&quot;5&quot;/&gt;&lt;property id=&quot;20300&quot; value=&quot;Slide 23 - &amp;quot;Chagas’ Disease Acute Phase&amp;quot;&quot;/&gt;&lt;property id=&quot;20303&quot; value=&quot;-1&quot;/&gt;&lt;property id=&quot;20307&quot; value=&quot;278&quot;/&gt;&lt;property id=&quot;20309&quot; value=&quot;-1&quot;/&gt;&lt;/object&gt;&lt;object type=&quot;3&quot; unique_id=&quot;27600&quot;&gt;&lt;property id=&quot;20148&quot; value=&quot;5&quot;/&gt;&lt;property id=&quot;20300&quot; value=&quot;Slide 24 - &amp;quot;Chagas’ Disease Acute Phase&amp;quot;&quot;/&gt;&lt;property id=&quot;20303&quot; value=&quot;-1&quot;/&gt;&lt;property id=&quot;20307&quot; value=&quot;279&quot;/&gt;&lt;property id=&quot;20309&quot; value=&quot;-1&quot;/&gt;&lt;/object&gt;&lt;object type=&quot;3&quot; unique_id=&quot;27601&quot;&gt;&lt;property id=&quot;20148&quot; value=&quot;5&quot;/&gt;&lt;property id=&quot;20300&quot; value=&quot;Slide 25 - &amp;quot;Chagas’ Disease Chronic Phase&amp;quot;&quot;/&gt;&lt;property id=&quot;20303&quot; value=&quot;-1&quot;/&gt;&lt;property id=&quot;20307&quot; value=&quot;280&quot;/&gt;&lt;property id=&quot;20309&quot; value=&quot;-1&quot;/&gt;&lt;/object&gt;&lt;object type=&quot;3&quot; unique_id=&quot;27732&quot;&gt;&lt;property id=&quot;20148&quot; value=&quot;5&quot;/&gt;&lt;property id=&quot;20300&quot; value=&quot;Slide 26 - &amp;quot;Chagas’ Disease Chronic Phase&amp;quot;&quot;/&gt;&lt;property id=&quot;20303&quot; value=&quot;-1&quot;/&gt;&lt;property id=&quot;20307&quot; value=&quot;281&quot;/&gt;&lt;property id=&quot;20309&quot; value=&quot;-1&quot;/&gt;&lt;/object&gt;&lt;object type=&quot;3&quot; unique_id=&quot;27733&quot;&gt;&lt;property id=&quot;20148&quot; value=&quot;5&quot;/&gt;&lt;property id=&quot;20300&quot; value=&quot;Slide 27 - &amp;quot;Chagas’ Disease Chronic Phase&amp;quot;&quot;/&gt;&lt;property id=&quot;20303&quot; value=&quot;-1&quot;/&gt;&lt;property id=&quot;20307&quot; value=&quot;282&quot;/&gt;&lt;property id=&quot;20309&quot; value=&quot;-1&quot;/&gt;&lt;/object&gt;&lt;object type=&quot;3&quot; unique_id=&quot;27734&quot;&gt;&lt;property id=&quot;20148&quot; value=&quot;5&quot;/&gt;&lt;property id=&quot;20300&quot; value=&quot;Slide 28 - &amp;quot;Chagas Treatment&amp;quot;&quot;/&gt;&lt;property id=&quot;20303&quot; value=&quot;-1&quot;/&gt;&lt;property id=&quot;20307&quot; value=&quot;283&quot;/&gt;&lt;property id=&quot;20309&quot; value=&quot;-1&quot;/&gt;&lt;/object&gt;&lt;object type=&quot;3&quot; unique_id=&quot;27996&quot;&gt;&lt;property id=&quot;20148&quot; value=&quot;5&quot;/&gt;&lt;property id=&quot;20300&quot; value=&quot;Slide 29 - &amp;quot;Chagas’ Disease Treatment&amp;quot;&quot;/&gt;&lt;property id=&quot;20303&quot; value=&quot;-1&quot;/&gt;&lt;property id=&quot;20307&quot; value=&quot;284&quot;/&gt;&lt;property id=&quot;20309&quot; value=&quot;-1&quot;/&gt;&lt;/object&gt;&lt;object type=&quot;3&quot; unique_id=&quot;27997&quot;&gt;&lt;property id=&quot;20148&quot; value=&quot;5&quot;/&gt;&lt;property id=&quot;20300&quot; value=&quot;Slide 30 - &amp;quot;Chagas Treatment&amp;quot;&quot;/&gt;&lt;property id=&quot;20303&quot; value=&quot;-1&quot;/&gt;&lt;property id=&quot;20307&quot; value=&quot;285&quot;/&gt;&lt;property id=&quot;20309&quot; value=&quot;-1&quot;/&gt;&lt;/object&gt;&lt;object type=&quot;3&quot; unique_id=&quot;27998&quot;&gt;&lt;property id=&quot;20148&quot; value=&quot;5&quot;/&gt;&lt;property id=&quot;20300&quot; value=&quot;Slide 31&quot;/&gt;&lt;property id=&quot;20303&quot; value=&quot;-1&quot;/&gt;&lt;property id=&quot;20307&quot; value=&quot;286&quot;/&gt;&lt;property id=&quot;20309&quot; value=&quot;-1&quot;/&gt;&lt;/object&gt;&lt;object type=&quot;3&quot; unique_id=&quot;27999&quot;&gt;&lt;property id=&quot;20148&quot; value=&quot;5&quot;/&gt;&lt;property id=&quot;20300&quot; value=&quot;Slide 32 - &amp;quot;Dengue Fever&amp;quot;&quot;/&gt;&lt;property id=&quot;20303&quot; value=&quot;-1&quot;/&gt;&lt;property id=&quot;20307&quot; value=&quot;287&quot;/&gt;&lt;property id=&quot;20309&quot; value=&quot;-1&quot;/&gt;&lt;/object&gt;&lt;object type=&quot;3&quot; unique_id=&quot;28000&quot;&gt;&lt;property id=&quot;20148&quot; value=&quot;5&quot;/&gt;&lt;property id=&quot;20300&quot; value=&quot;Slide 33&quot;/&gt;&lt;property id=&quot;20303&quot; value=&quot;-1&quot;/&gt;&lt;property id=&quot;20307&quot; value=&quot;288&quot;/&gt;&lt;property id=&quot;20309&quot; value=&quot;-1&quot;/&gt;&lt;/object&gt;&lt;object type=&quot;3&quot; unique_id=&quot;28001&quot;&gt;&lt;property id=&quot;20148&quot; value=&quot;5&quot;/&gt;&lt;property id=&quot;20300&quot; value=&quot;Slide 35 - &amp;quot;Dengue&amp;quot;&quot;/&gt;&lt;property id=&quot;20303&quot; value=&quot;-1&quot;/&gt;&lt;property id=&quot;20307&quot; value=&quot;289&quot;/&gt;&lt;property id=&quot;20309&quot; value=&quot;-1&quot;/&gt;&lt;/object&gt;&lt;object type=&quot;3&quot; unique_id=&quot;28247&quot;&gt;&lt;property id=&quot;20148&quot; value=&quot;5&quot;/&gt;&lt;property id=&quot;20300&quot; value=&quot;Slide 36 - &amp;quot;Dengue&amp;quot;&quot;/&gt;&lt;property id=&quot;20303&quot; value=&quot;-1&quot;/&gt;&lt;property id=&quot;20307&quot; value=&quot;290&quot;/&gt;&lt;property id=&quot;20309&quot; value=&quot;-1&quot;/&gt;&lt;/object&gt;&lt;object type=&quot;3&quot; unique_id=&quot;28248&quot;&gt;&lt;property id=&quot;20148&quot; value=&quot;5&quot;/&gt;&lt;property id=&quot;20300&quot; value=&quot;Slide 37&quot;/&gt;&lt;property id=&quot;20303&quot; value=&quot;-1&quot;/&gt;&lt;property id=&quot;20307&quot; value=&quot;291&quot;/&gt;&lt;property id=&quot;20309&quot; value=&quot;-1&quot;/&gt;&lt;/object&gt;&lt;object type=&quot;3&quot; unique_id=&quot;28250&quot;&gt;&lt;property id=&quot;20148&quot; value=&quot;5&quot;/&gt;&lt;property id=&quot;20300&quot; value=&quot;Slide 38&quot;/&gt;&lt;property id=&quot;20303&quot; value=&quot;-1&quot;/&gt;&lt;property id=&quot;20307&quot; value=&quot;294&quot;/&gt;&lt;property id=&quot;20309&quot; value=&quot;-1&quot;/&gt;&lt;/object&gt;&lt;object type=&quot;3&quot; unique_id=&quot;28251&quot;&gt;&lt;property id=&quot;20148&quot; value=&quot;5&quot;/&gt;&lt;property id=&quot;20300&quot; value=&quot;Slide 39&quot;/&gt;&lt;property id=&quot;20303&quot; value=&quot;-1&quot;/&gt;&lt;property id=&quot;20307&quot; value=&quot;293&quot;/&gt;&lt;property id=&quot;20309&quot; value=&quot;-1&quot;/&gt;&lt;/object&gt;&lt;object type=&quot;3&quot; unique_id=&quot;28452&quot;&gt;&lt;property id=&quot;20148&quot; value=&quot;5&quot;/&gt;&lt;property id=&quot;20300&quot; value=&quot;Slide 40&quot;/&gt;&lt;property id=&quot;20303&quot; value=&quot;-1&quot;/&gt;&lt;property id=&quot;20307&quot; value=&quot;296&quot;/&gt;&lt;property id=&quot;20309&quot; value=&quot;-1&quot;/&gt;&lt;/object&gt;&lt;object type=&quot;3&quot; unique_id=&quot;28453&quot;&gt;&lt;property id=&quot;20148&quot; value=&quot;5&quot;/&gt;&lt;property id=&quot;20300&quot; value=&quot;Slide 41 - &amp;quot;Hepatitis&amp;quot;&quot;/&gt;&lt;property id=&quot;20303&quot; value=&quot;-1&quot;/&gt;&lt;property id=&quot;20307&quot; value=&quot;295&quot;/&gt;&lt;property id=&quot;20309&quot; value=&quot;-1&quot;/&gt;&lt;/object&gt;&lt;object type=&quot;3&quot; unique_id=&quot;28454&quot;&gt;&lt;property id=&quot;20148&quot; value=&quot;5&quot;/&gt;&lt;property id=&quot;20300&quot; value=&quot;Slide 42&quot;/&gt;&lt;property id=&quot;20303&quot; value=&quot;-1&quot;/&gt;&lt;property id=&quot;20307&quot; value=&quot;297&quot;/&gt;&lt;property id=&quot;20309&quot; value=&quot;-1&quot;/&gt;&lt;/object&gt;&lt;object type=&quot;3&quot; unique_id=&quot;28584&quot;&gt;&lt;property id=&quot;20148&quot; value=&quot;5&quot;/&gt;&lt;property id=&quot;20300&quot; value=&quot;Slide 43&quot;/&gt;&lt;property id=&quot;20303&quot; value=&quot;-1&quot;/&gt;&lt;property id=&quot;20307&quot; value=&quot;298&quot;/&gt;&lt;property id=&quot;20309&quot; value=&quot;-1&quot;/&gt;&lt;/object&gt;&lt;object type=&quot;3&quot; unique_id=&quot;28852&quot;&gt;&lt;property id=&quot;20148&quot; value=&quot;5&quot;/&gt;&lt;property id=&quot;20300&quot; value=&quot;Slide 44&quot;/&gt;&lt;property id=&quot;20303&quot; value=&quot;-1&quot;/&gt;&lt;property id=&quot;20307&quot; value=&quot;299&quot;/&gt;&lt;property id=&quot;20309&quot; value=&quot;-1&quot;/&gt;&lt;/object&gt;&lt;object type=&quot;3&quot; unique_id=&quot;31153&quot;&gt;&lt;property id=&quot;20148&quot; value=&quot;5&quot;/&gt;&lt;property id=&quot;20300&quot; value=&quot;Slide 45&quot;/&gt;&lt;property id=&quot;20303&quot; value=&quot;-1&quot;/&gt;&lt;property id=&quot;20307&quot; value=&quot;300&quot;/&gt;&lt;property id=&quot;20309&quot; value=&quot;-1&quot;/&gt;&lt;/object&gt;&lt;object type=&quot;3&quot; unique_id=&quot;31154&quot;&gt;&lt;property id=&quot;20148&quot; value=&quot;5&quot;/&gt;&lt;property id=&quot;20300&quot; value=&quot;Slide 46&quot;/&gt;&lt;property id=&quot;20303&quot; value=&quot;-1&quot;/&gt;&lt;property id=&quot;20307&quot; value=&quot;301&quot;/&gt;&lt;property id=&quot;20309&quot; value=&quot;-1&quot;/&gt;&lt;/object&gt;&lt;object type=&quot;3&quot; unique_id=&quot;31155&quot;&gt;&lt;property id=&quot;20148&quot; value=&quot;5&quot;/&gt;&lt;property id=&quot;20300&quot; value=&quot;Slide 47&quot;/&gt;&lt;property id=&quot;20303&quot; value=&quot;-1&quot;/&gt;&lt;property id=&quot;20307&quot; value=&quot;302&quot;/&gt;&lt;property id=&quot;20309&quot; value=&quot;-1&quot;/&gt;&lt;/object&gt;&lt;object type=&quot;3&quot; unique_id=&quot;31156&quot;&gt;&lt;property id=&quot;20148&quot; value=&quot;5&quot;/&gt;&lt;property id=&quot;20300&quot; value=&quot;Slide 48 - &amp;quot;Global Burden of TB, 2010 WHO Global TB Report, 2011&amp;quot;&quot;/&gt;&lt;property id=&quot;20303&quot; value=&quot;-1&quot;/&gt;&lt;property id=&quot;20307&quot; value=&quot;303&quot;/&gt;&lt;property id=&quot;20309&quot; value=&quot;-1&quot;/&gt;&lt;/object&gt;&lt;object type=&quot;3&quot; unique_id=&quot;31157&quot;&gt;&lt;property id=&quot;20148&quot; value=&quot;5&quot;/&gt;&lt;property id=&quot;20300&quot; value=&quot;Slide 49&quot;/&gt;&lt;property id=&quot;20303&quot; value=&quot;-1&quot;/&gt;&lt;property id=&quot;20307&quot; value=&quot;304&quot;/&gt;&lt;property id=&quot;20309&quot; value=&quot;-1&quot;/&gt;&lt;/object&gt;&lt;object type=&quot;3&quot; unique_id=&quot;31158&quot;&gt;&lt;property id=&quot;20148&quot; value=&quot;5&quot;/&gt;&lt;property id=&quot;20300&quot; value=&quot;Slide 50&quot;/&gt;&lt;property id=&quot;20303&quot; value=&quot;-1&quot;/&gt;&lt;property id=&quot;20307&quot; value=&quot;305&quot;/&gt;&lt;property id=&quot;20309&quot; value=&quot;-1&quot;/&gt;&lt;/object&gt;&lt;object type=&quot;3&quot; unique_id=&quot;31159&quot;&gt;&lt;property id=&quot;20148&quot; value=&quot;5&quot;/&gt;&lt;property id=&quot;20300&quot; value=&quot;Slide 51&quot;/&gt;&lt;property id=&quot;20303&quot; value=&quot;-1&quot;/&gt;&lt;property id=&quot;20307&quot; value=&quot;306&quot;/&gt;&lt;property id=&quot;20309&quot; value=&quot;-1&quot;/&gt;&lt;/object&gt;&lt;object type=&quot;3&quot; unique_id=&quot;31160&quot;&gt;&lt;property id=&quot;20148&quot; value=&quot;5&quot;/&gt;&lt;property id=&quot;20300&quot; value=&quot;Slide 52 - &amp;quot;Drug-Resistant TB&amp;quot;&quot;/&gt;&lt;property id=&quot;20303&quot; value=&quot;-1&quot;/&gt;&lt;property id=&quot;20307&quot; value=&quot;307&quot;/&gt;&lt;property id=&quot;20309&quot; value=&quot;-1&quot;/&gt;&lt;/object&gt;&lt;object type=&quot;3&quot; unique_id=&quot;31161&quot;&gt;&lt;property id=&quot;20148&quot; value=&quot;5&quot;/&gt;&lt;property id=&quot;20300&quot; value=&quot;Slide 53&quot;/&gt;&lt;property id=&quot;20303&quot; value=&quot;-1&quot;/&gt;&lt;property id=&quot;20307&quot; value=&quot;308&quot;/&gt;&lt;property id=&quot;20309&quot; value=&quot;-1&quot;/&gt;&lt;/object&gt;&lt;object type=&quot;3&quot; unique_id=&quot;31162&quot;&gt;&lt;property id=&quot;20148&quot; value=&quot;5&quot;/&gt;&lt;property id=&quot;20300&quot; value=&quot;Slide 54&quot;/&gt;&lt;property id=&quot;20303&quot; value=&quot;-1&quot;/&gt;&lt;property id=&quot;20307&quot; value=&quot;309&quot;/&gt;&lt;property id=&quot;20309&quot; value=&quot;-1&quot;/&gt;&lt;/object&gt;&lt;object type=&quot;3&quot; unique_id=&quot;31163&quot;&gt;&lt;property id=&quot;20148&quot; value=&quot;5&quot;/&gt;&lt;property id=&quot;20300&quot; value=&quot;Slide 55&quot;/&gt;&lt;property id=&quot;20303&quot; value=&quot;-1&quot;/&gt;&lt;property id=&quot;20307&quot; value=&quot;310&quot;/&gt;&lt;property id=&quot;20309&quot; value=&quot;-1&quot;/&gt;&lt;/object&gt;&lt;object type=&quot;3&quot; unique_id=&quot;31164&quot;&gt;&lt;property id=&quot;20148&quot; value=&quot;5&quot;/&gt;&lt;property id=&quot;20300&quot; value=&quot;Slide 56&quot;/&gt;&lt;property id=&quot;20303&quot; value=&quot;-1&quot;/&gt;&lt;property id=&quot;20307&quot; value=&quot;311&quot;/&gt;&lt;property id=&quot;20309&quot; value=&quot;-1&quot;/&gt;&lt;/object&gt;&lt;object type=&quot;3&quot; unique_id=&quot;31165&quot;&gt;&lt;property id=&quot;20148&quot; value=&quot;5&quot;/&gt;&lt;property id=&quot;20300&quot; value=&quot;Slide 57&quot;/&gt;&lt;property id=&quot;20303&quot; value=&quot;-1&quot;/&gt;&lt;property id=&quot;20307&quot; value=&quot;312&quot;/&gt;&lt;property id=&quot;20309&quot; value=&quot;-1&quot;/&gt;&lt;/object&gt;&lt;object type=&quot;3&quot; unique_id=&quot;31166&quot;&gt;&lt;property id=&quot;20148&quot; value=&quot;5&quot;/&gt;&lt;property id=&quot;20300&quot; value=&quot;Slide 58&quot;/&gt;&lt;property id=&quot;20303&quot; value=&quot;-1&quot;/&gt;&lt;property id=&quot;20307&quot; value=&quot;313&quot;/&gt;&lt;property id=&quot;20309&quot; value=&quot;-1&quot;/&gt;&lt;/object&gt;&lt;object type=&quot;3&quot; unique_id=&quot;31167&quot;&gt;&lt;property id=&quot;20148&quot; value=&quot;5&quot;/&gt;&lt;property id=&quot;20300&quot; value=&quot;Slide 59 - &amp;quot;Evaluation for TB&amp;quot;&quot;/&gt;&lt;property id=&quot;20303&quot; value=&quot;-1&quot;/&gt;&lt;property id=&quot;20307&quot; value=&quot;314&quot;/&gt;&lt;property id=&quot;20309&quot; value=&quot;-1&quot;/&gt;&lt;/object&gt;&lt;object type=&quot;3&quot; unique_id=&quot;31168&quot;&gt;&lt;property id=&quot;20148&quot; value=&quot;5&quot;/&gt;&lt;property id=&quot;20300&quot; value=&quot;Slide 60 - &amp;quot;History and Physical Exam&amp;quot;&quot;/&gt;&lt;property id=&quot;20303&quot; value=&quot;-1&quot;/&gt;&lt;property id=&quot;20307&quot; value=&quot;315&quot;/&gt;&lt;property id=&quot;20309&quot; value=&quot;-1&quot;/&gt;&lt;/object&gt;&lt;object type=&quot;3&quot; unique_id=&quot;31169&quot;&gt;&lt;property id=&quot;20148&quot; value=&quot;5&quot;/&gt;&lt;property id=&quot;20300&quot; value=&quot;Slide 61&quot;/&gt;&lt;property id=&quot;20303&quot; value=&quot;-1&quot;/&gt;&lt;property id=&quot;20307&quot; value=&quot;316&quot;/&gt;&lt;property id=&quot;20309&quot; value=&quot;-1&quot;/&gt;&lt;/object&gt;&lt;object type=&quot;3&quot; unique_id=&quot;31170&quot;&gt;&lt;property id=&quot;20148&quot; value=&quot;5&quot;/&gt;&lt;property id=&quot;20300&quot; value=&quot;Slide 62&quot;/&gt;&lt;property id=&quot;20303&quot; value=&quot;-1&quot;/&gt;&lt;property id=&quot;20307&quot; value=&quot;317&quot;/&gt;&lt;property id=&quot;20309&quot; value=&quot;-1&quot;/&gt;&lt;/object&gt;&lt;object type=&quot;3&quot; unique_id=&quot;31171&quot;&gt;&lt;property id=&quot;20148&quot; value=&quot;5&quot;/&gt;&lt;property id=&quot;20300&quot; value=&quot;Slide 63&quot;/&gt;&lt;property id=&quot;20303&quot; value=&quot;-1&quot;/&gt;&lt;property id=&quot;20307&quot; value=&quot;318&quot;/&gt;&lt;property id=&quot;20309&quot; value=&quot;-1&quot;/&gt;&lt;/object&gt;&lt;object type=&quot;3&quot; unique_id=&quot;31172&quot;&gt;&lt;property id=&quot;20148&quot; value=&quot;5&quot;/&gt;&lt;property id=&quot;20300&quot; value=&quot;Slide 64&quot;/&gt;&lt;property id=&quot;20303&quot; value=&quot;-1&quot;/&gt;&lt;property id=&quot;20307&quot; value=&quot;319&quot;/&gt;&lt;property id=&quot;20309&quot; value=&quot;-1&quot;/&gt;&lt;/object&gt;&lt;object type=&quot;3&quot; unique_id=&quot;31173&quot;&gt;&lt;property id=&quot;20148&quot; value=&quot;5&quot;/&gt;&lt;property id=&quot;20300&quot; value=&quot;Slide 65&quot;/&gt;&lt;property id=&quot;20303&quot; value=&quot;-1&quot;/&gt;&lt;property id=&quot;20307&quot; value=&quot;320&quot;/&gt;&lt;property id=&quot;20309&quot; value=&quot;-1&quot;/&gt;&lt;/object&gt;&lt;object type=&quot;3&quot; unique_id=&quot;31174&quot;&gt;&lt;property id=&quot;20148&quot; value=&quot;5&quot;/&gt;&lt;property id=&quot;20300&quot; value=&quot;Slide 66&quot;/&gt;&lt;property id=&quot;20303&quot; value=&quot;-1&quot;/&gt;&lt;property id=&quot;20307&quot; value=&quot;321&quot;/&gt;&lt;property id=&quot;20309&quot; value=&quot;-1&quot;/&gt;&lt;/object&gt;&lt;object type=&quot;3&quot; unique_id=&quot;31176&quot;&gt;&lt;property id=&quot;20148&quot; value=&quot;5&quot;/&gt;&lt;property id=&quot;20300&quot; value=&quot;Slide 67&quot;/&gt;&lt;property id=&quot;20303&quot; value=&quot;-1&quot;/&gt;&lt;property id=&quot;20307&quot; value=&quot;323&quot;/&gt;&lt;property id=&quot;20309&quot; value=&quot;-1&quot;/&gt;&lt;/object&gt;&lt;object type=&quot;3&quot; unique_id=&quot;31177&quot;&gt;&lt;property id=&quot;20148&quot; value=&quot;5&quot;/&gt;&lt;property id=&quot;20300&quot; value=&quot;Slide 68 - &amp;quot;Drug Regimen for Treatment of LTBI&amp;quot;&quot;/&gt;&lt;property id=&quot;20303&quot; value=&quot;-1&quot;/&gt;&lt;property id=&quot;20307&quot; value=&quot;324&quot;/&gt;&lt;property id=&quot;20309&quot; value=&quot;-1&quot;/&gt;&lt;/object&gt;&lt;object type=&quot;3&quot; unique_id=&quot;31178&quot;&gt;&lt;property id=&quot;20148&quot; value=&quot;5&quot;/&gt;&lt;property id=&quot;20300&quot; value=&quot;Slide 69 - &amp;quot;INH Hepatotoxicity &amp;quot;&quot;/&gt;&lt;property id=&quot;20303&quot; value=&quot;-1&quot;/&gt;&lt;property id=&quot;20307&quot; value=&quot;325&quot;/&gt;&lt;property id=&quot;20309&quot; value=&quot;-1&quot;/&gt;&lt;/object&gt;&lt;object type=&quot;3&quot; unique_id=&quot;31179&quot;&gt;&lt;property id=&quot;20148&quot; value=&quot;5&quot;/&gt;&lt;property id=&quot;20300&quot; value=&quot;Slide 70&quot;/&gt;&lt;property id=&quot;20303&quot; value=&quot;-1&quot;/&gt;&lt;property id=&quot;20307&quot; value=&quot;326&quot;/&gt;&lt;property id=&quot;20309&quot; value=&quot;-1&quot;/&gt;&lt;/object&gt;&lt;object type=&quot;3&quot; unique_id=&quot;31180&quot;&gt;&lt;property id=&quot;20148&quot; value=&quot;5&quot;/&gt;&lt;property id=&quot;20300&quot; value=&quot;Slide 71&quot;/&gt;&lt;property id=&quot;20303&quot; value=&quot;-1&quot;/&gt;&lt;property id=&quot;20307&quot; value=&quot;327&quot;/&gt;&lt;property id=&quot;20309&quot; value=&quot;-1&quot;/&gt;&lt;/object&gt;&lt;object type=&quot;3&quot; unique_id=&quot;31181&quot;&gt;&lt;property id=&quot;20148&quot; value=&quot;5&quot;/&gt;&lt;property id=&quot;20300&quot; value=&quot;Slide 72&quot;/&gt;&lt;property id=&quot;20303&quot; value=&quot;-1&quot;/&gt;&lt;property id=&quot;20307&quot; value=&quot;328&quot;/&gt;&lt;property id=&quot;20309&quot; value=&quot;-1&quot;/&gt;&lt;/object&gt;&lt;object type=&quot;3&quot; unique_id=&quot;31182&quot;&gt;&lt;property id=&quot;20148&quot; value=&quot;5&quot;/&gt;&lt;property id=&quot;20300&quot; value=&quot;Slide 73&quot;/&gt;&lt;property id=&quot;20303&quot; value=&quot;-1&quot;/&gt;&lt;property id=&quot;20307&quot; value=&quot;329&quot;/&gt;&lt;property id=&quot;20309&quot; value=&quot;-1&quot;/&gt;&lt;/object&gt;&lt;object type=&quot;3&quot; unique_id=&quot;31183&quot;&gt;&lt;property id=&quot;20148&quot; value=&quot;5&quot;/&gt;&lt;property id=&quot;20300&quot; value=&quot;Slide 74&quot;/&gt;&lt;property id=&quot;20303&quot; value=&quot;-1&quot;/&gt;&lt;property id=&quot;20307&quot; value=&quot;331&quot;/&gt;&lt;property id=&quot;20309&quot; value=&quot;-1&quot;/&gt;&lt;/object&gt;&lt;object type=&quot;3&quot; unique_id=&quot;31184&quot;&gt;&lt;property id=&quot;20148&quot; value=&quot;5&quot;/&gt;&lt;property id=&quot;20300&quot; value=&quot;Slide 75 - &amp;quot;Recommendations for BCG Vaccination&amp;quot;&quot;/&gt;&lt;property id=&quot;20303&quot; value=&quot;-1&quot;/&gt;&lt;property id=&quot;20307&quot; value=&quot;330&quot;/&gt;&lt;property id=&quot;20309&quot; value=&quot;-1&quot;/&gt;&lt;/object&gt;&lt;object type=&quot;3&quot; unique_id=&quot;31185&quot;&gt;&lt;property id=&quot;20148&quot; value=&quot;5&quot;/&gt;&lt;property id=&quot;20300&quot; value=&quot;Slide 76&quot;/&gt;&lt;property id=&quot;20303&quot; value=&quot;-1&quot;/&gt;&lt;property id=&quot;20307&quot; value=&quot;332&quot;/&gt;&lt;property id=&quot;20309&quot; value=&quot;-1&quot;/&gt;&lt;/object&gt;&lt;object type=&quot;3&quot; unique_id=&quot;31186&quot;&gt;&lt;property id=&quot;20148&quot; value=&quot;5&quot;/&gt;&lt;property id=&quot;20300&quot; value=&quot;Slide 77&quot;/&gt;&lt;property id=&quot;20303&quot; value=&quot;-1&quot;/&gt;&lt;property id=&quot;20307&quot; value=&quot;333&quot;/&gt;&lt;property id=&quot;20309&quot; value=&quot;-1&quot;/&gt;&lt;/object&gt;&lt;object type=&quot;3&quot; unique_id=&quot;31187&quot;&gt;&lt;property id=&quot;20148&quot; value=&quot;5&quot;/&gt;&lt;property id=&quot;20300&quot; value=&quot;Slide 78&quot;/&gt;&lt;property id=&quot;20303&quot; value=&quot;-1&quot;/&gt;&lt;property id=&quot;20307&quot; value=&quot;334&quot;/&gt;&lt;property id=&quot;20309&quot; value=&quot;-1&quot;/&gt;&lt;/object&gt;&lt;object type=&quot;3&quot; unique_id=&quot;31188&quot;&gt;&lt;property id=&quot;20148&quot; value=&quot;5&quot;/&gt;&lt;property id=&quot;20300&quot; value=&quot;Slide 79&quot;/&gt;&lt;property id=&quot;20303&quot; value=&quot;-1&quot;/&gt;&lt;property id=&quot;20307&quot; value=&quot;335&quot;/&gt;&lt;property id=&quot;20309&quot; value=&quot;-1&quot;/&gt;&lt;/object&gt;&lt;object type=&quot;3&quot; unique_id=&quot;31189&quot;&gt;&lt;property id=&quot;20148&quot; value=&quot;5&quot;/&gt;&lt;property id=&quot;20300&quot; value=&quot;Slide 80&quot;/&gt;&lt;property id=&quot;20303&quot; value=&quot;-1&quot;/&gt;&lt;property id=&quot;20307&quot; value=&quot;336&quot;/&gt;&lt;property id=&quot;20309&quot; value=&quot;-1&quot;/&gt;&lt;/object&gt;&lt;object type=&quot;3&quot; unique_id=&quot;31190&quot;&gt;&lt;property id=&quot;20148&quot; value=&quot;5&quot;/&gt;&lt;property id=&quot;20300&quot; value=&quot;Slide 81&quot;/&gt;&lt;property id=&quot;20303&quot; value=&quot;-1&quot;/&gt;&lt;property id=&quot;20307&quot; value=&quot;337&quot;/&gt;&lt;property id=&quot;20309&quot; value=&quot;-1&quot;/&gt;&lt;/object&gt;&lt;object type=&quot;3&quot; unique_id=&quot;31191&quot;&gt;&lt;property id=&quot;20148&quot; value=&quot;5&quot;/&gt;&lt;property id=&quot;20300&quot; value=&quot;Slide 82&quot;/&gt;&lt;property id=&quot;20303&quot; value=&quot;-1&quot;/&gt;&lt;property id=&quot;20307&quot; value=&quot;338&quot;/&gt;&lt;property id=&quot;20309&quot; value=&quot;-1&quot;/&gt;&lt;/object&gt;&lt;object type=&quot;3&quot; unique_id=&quot;31192&quot;&gt;&lt;property id=&quot;20148&quot; value=&quot;5&quot;/&gt;&lt;property id=&quot;20300&quot; value=&quot;Slide 83&quot;/&gt;&lt;property id=&quot;20303&quot; value=&quot;-1&quot;/&gt;&lt;property id=&quot;20307&quot; value=&quot;339&quot;/&gt;&lt;property id=&quot;20309&quot; value=&quot;-1&quot;/&gt;&lt;/object&gt;&lt;object type=&quot;3&quot; unique_id=&quot;31193&quot;&gt;&lt;property id=&quot;20148&quot; value=&quot;5&quot;/&gt;&lt;property id=&quot;20300&quot; value=&quot;Slide 84&quot;/&gt;&lt;property id=&quot;20303&quot; value=&quot;-1&quot;/&gt;&lt;property id=&quot;20307&quot; value=&quot;340&quot;/&gt;&lt;property id=&quot;20309&quot; value=&quot;-1&quot;/&gt;&lt;/object&gt;&lt;object type=&quot;3&quot; unique_id=&quot;31194&quot;&gt;&lt;property id=&quot;20148&quot; value=&quot;5&quot;/&gt;&lt;property id=&quot;20300&quot; value=&quot;Slide 85&quot;/&gt;&lt;property id=&quot;20303&quot; value=&quot;-1&quot;/&gt;&lt;property id=&quot;20307&quot; value=&quot;341&quot;/&gt;&lt;property id=&quot;20309&quot; value=&quot;-1&quot;/&gt;&lt;/object&gt;&lt;object type=&quot;3&quot; unique_id=&quot;31195&quot;&gt;&lt;property id=&quot;20148&quot; value=&quot;5&quot;/&gt;&lt;property id=&quot;20300&quot; value=&quot;Slide 86&quot;/&gt;&lt;property id=&quot;20303&quot; value=&quot;-1&quot;/&gt;&lt;property id=&quot;20307&quot; value=&quot;342&quot;/&gt;&lt;property id=&quot;20309&quot; value=&quot;-1&quot;/&gt;&lt;/object&gt;&lt;object type=&quot;3&quot; unique_id=&quot;33122&quot;&gt;&lt;property id=&quot;20148&quot; value=&quot;5&quot;/&gt;&lt;property id=&quot;20300&quot; value=&quot;Slide 20&quot;/&gt;&lt;property id=&quot;20307&quot; value=&quot;343&quot;/&gt;&lt;property id=&quot;20309&quot; value=&quot;-1&quot;/&gt;&lt;/object&gt;&lt;object type=&quot;3&quot; unique_id=&quot;33123&quot;&gt;&lt;property id=&quot;20148&quot; value=&quot;5&quot;/&gt;&lt;property id=&quot;20300&quot; value=&quot;Slide 34 - &amp;quot;Dengue Fever&amp;quot;&quot;/&gt;&lt;property id=&quot;20307&quot; value=&quot;347&quot;/&gt;&lt;property id=&quot;20309&quot; value=&quot;-1&quot;/&gt;&lt;/object&gt;&lt;/object&gt;&lt;object type=&quot;8&quot; unique_id=&quot;27238&quot;&gt;&lt;/object&gt;&lt;object type=&quot;10&quot; unique_id=&quot;31372&quot;&gt;&lt;object type=&quot;11&quot; unique_id=&quot;31373&quot;&gt;&lt;property id=&quot;20180&quot; value=&quot;0&quot;/&gt;&lt;property id=&quot;20181&quot; value=&quot;1&quot;/&gt;&lt;property id=&quot;20183&quot; value=&quot;1&quot;/&gt;&lt;/object&gt;&lt;object type=&quot;12&quot; unique_id=&quot;31375&quot;&gt;&lt;/object&gt;&lt;/object&gt;&lt;object type=&quot;4&quot; unique_id=&quot;31374&quot;&gt;&lt;/object&gt;&lt;/object&gt;&lt;/database&gt;"/>
  <p:tag name="POWERPOINTVERSION" val="14.0"/>
  <p:tag name="SAVECSVWITHSESSION" val="True"/>
  <p:tag name="ANSWERNOWTEXT" val="Answer Now"/>
  <p:tag name="RESPTABLESTYLE" val="-1"/>
  <p:tag name="ALLOWDUPLICATES" val="False"/>
  <p:tag name="AUTOADVANCE" val="False"/>
  <p:tag name="STDCHART" val="1"/>
  <p:tag name="SKIPREMAININGRACESLIDES" val="True"/>
  <p:tag name="BUBBLENAMEVISIBLE" val="True"/>
  <p:tag name="DEFAULTNUMTEAMS" val="5"/>
  <p:tag name="CUSTOMCELLBACKCOLOR2" val="-13395457"/>
  <p:tag name="DISPLAYNAME" val="True"/>
  <p:tag name="GRIDROTATIONINTERVAL" val="2"/>
  <p:tag name="GRIDFONTSIZE" val="12"/>
  <p:tag name="RESETCHARTS" val="True"/>
  <p:tag name="ALLOWUSERFEEDBACK" val="True"/>
  <p:tag name="REALTIMEBACKUPPATH" val="(None)"/>
  <p:tag name="ADVANCEDSETTINGSVIEW" val="False"/>
  <p:tag name="FIBDISPLAYKEYWORDS" val="True"/>
  <p:tag name="PRRESPONSE4" val="7"/>
  <p:tag name="PRRESPONSE8" val="3"/>
  <p:tag name="ALWAYSOPENPOLL" val="False"/>
  <p:tag name="USESECONDARYMONITOR" val="True"/>
  <p:tag name="COUNTDOWNSTYLE" val="-1"/>
  <p:tag name="INPUTSOURCE" val="1"/>
  <p:tag name="CHARTVALUEFORMAT" val="0%"/>
  <p:tag name="RACEENDPOINTS" val="100"/>
  <p:tag name="TEAMSINLEADERBOARD" val="5"/>
  <p:tag name="BUBBLEGROUPING" val="3"/>
  <p:tag name="CUSTOMCELLBACKCOLOR3" val="-268652"/>
  <p:tag name="DISPLAYDEVICEID" val="True"/>
  <p:tag name="GRIDPOSITION" val="1"/>
  <p:tag name="INCLUDENONRESPONDERS" val="False"/>
  <p:tag name="INCORRECTPOINTVALUE" val="0"/>
  <p:tag name="CHARTSCALE" val="True"/>
  <p:tag name="PRRESPONSE1" val="10"/>
  <p:tag name="PRRESPONSE6" val="5"/>
  <p:tag name="SHOWFLASHWARNING" val="True"/>
  <p:tag name="TPVERSION" val="2008"/>
  <p:tag name="BULLETTYPE" val="3"/>
  <p:tag name="COUNTDOWNSECONDS" val="10"/>
  <p:tag name="REVIEWONLY" val="False"/>
  <p:tag name="RACEANIMATIONSPEED" val="3"/>
  <p:tag name="BUBBLEVALUEFORMAT" val="0.0"/>
  <p:tag name="CUSTOMCELLBACKCOLOR4" val="-8355712"/>
  <p:tag name="AUTOSIZEGRID" val="True"/>
  <p:tag name="CHARTLABELS" val="1"/>
  <p:tag name="REALTIMEBACKUP" val="False"/>
  <p:tag name="FIBNUMRESULTS" val="5"/>
  <p:tag name="PRRESPONSE5" val="6"/>
  <p:tag name="MMPROD_NEXTUNIQUEID" val="10011"/>
  <p:tag name="RESPCOUNTERFORMAT" val="0"/>
  <p:tag name="ROTATIONINTERVAL" val="2"/>
  <p:tag name="MAXRESPONDERS" val="5"/>
  <p:tag name="CUSTOMCELLBACKCOLOR1" val="-657956"/>
  <p:tag name="GRIDSIZE" val="{Width=800, Height=600}"/>
  <p:tag name="INCLUDEPPT" val="True"/>
  <p:tag name="FIBDISPLAYRESULTS" val="True"/>
  <p:tag name="PRRESPONSE7" val="4"/>
  <p:tag name="SECTOMILLISECCONVERTED" val="1"/>
  <p:tag name="RESPCOUNTERSTYLE" val="-1"/>
  <p:tag name="AUTOUPDATEALIASES" val="True"/>
  <p:tag name="CUSTOMGRIDBACKCOLOR" val="-722948"/>
  <p:tag name="GRIDOPACITY" val="90"/>
  <p:tag name="CORRECTPOINTVALUE" val="1"/>
  <p:tag name="PRRESPONSE2" val="9"/>
  <p:tag name="MMPROD_TAG_VCONFIG" val="PD94bWwgdmVyc2lvbj0iMS4wIiBlbmNvZGluZz0idXRmLTgiPz4NCjxjb25maWd1cmF0aW9uPg0KCTxicmFuZGluZz4NCgkJPHVpZm9udCBuYW1lPSJGT05UX05PVEVTX1RFWFQiIHZhbHVlPSJWZXJkYW5hLDksZmFsc2UsZmFsc2UsZmFsc2UiLz4NCgk8L2JyYW5kaW5nPg0KCTxjb2xvcnM+DQoJCTx1aWNvbG9yIG5hbWU9InByaW1hcnkiIHZhbHVlPSIweDZGODQ4OCIvPg0KCQk8dWljb2xvciBuYW1lPSJnbG93IiB2YWx1ZT0iMHg2MDk3NzMiLz4NCgkJPHVpY29sb3IgbmFtZT0idGV4dCIgdmFsdWU9IjB4RkZGRkZGIi8+DQoJCTx1aWNvbG9yIG5hbWU9ImxpZ2h0IiB2YWx1ZT0iMHg0RTVENjAiLz4NCgkJPHVpY29sb3IgbmFtZT0ic2hhZG93IiB2YWx1ZT0iMHgwMDAwMDAiLz4NCgkJPHVpY29sb3IgbmFtZT0iYmFja2dyb3VuZCIgdmFsdWU9IjB4NzI3OTcxIi8+DQoJPC9jb2xvcnM+DQoJPGxheW91dD4NCgkJPHVpc2hvdyBuYW1lPSJwcmVzZW50YXRpb250aXRsZSIgdmFsdWU9InRydWUiLz48dWlzaG93IG5hbWU9InByZXNlbnRlcnBob3RvIiB2YWx1ZT0idHJ1ZSIvPjx1aXNob3cgbmFtZT0icHJlc2VudGVybmFtZSIgdmFsdWU9InRydWUiLz48dWlzaG93IG5hbWU9InByZXNlbnRlcnRpdGxlIiB2YWx1ZT0idHJ1ZSIvPjx1aXNob3cgbmFtZT0icHJlc2VudGVyZW1haWwiIHZhbHVlPSJ0cnVlIi8+PHVpc2hvdyBuYW1lPSJwcmVzZW50ZXJiaW8iIHZhbHVlPSJ0cnVlIi8+PHVpc2hvdyBuYW1lPSJjb21wYW55bG9nbyIgdmFsdWU9InRydWUiLz48dWlzaG93IG5hbWU9InNpZGViYXIiIHZhbHVlPSJ0cnVlIi8+PHVpc2hvdyBuYW1lPSJvdXRsaW5lIiB2YWx1ZT0idHJ1ZSIvPjx1aXNob3cgbmFtZT0idGh1bWJuYWlsIiB2YWx1ZT0idHJ1ZSIvPg0KCQk8dWlzaG93IG5hbWU9Im5vdGVzIiB2YWx1ZT0idHJ1ZSIvPjx1aXNob3cgbmFtZT0ic2VhcmNoIiB2YWx1ZT0idHJ1ZSIvPjx1aXNob3cgbmFtZT0icXVpeiIgdmFsdWU9InRydWUiLz48dWlzaG93IG5hbWU9ImF0dGFjaG1lbnRzIiB2YWx1ZT0idHJ1ZSIvPjx1aXNob3cgbmFtZT0idXRpbHMiIHZhbHVlPSJ0cnVlIi8+PHVpc2hvdyBuYW1lPSJ2b2x1bWUiIHZhbHVlPSJ0cnVlIi8+PHVpc2hvdyBuYW1lPSJwbGF5YmFyIiB2YWx1ZT0idHJ1ZSIvPjx1aXNob3cgbmFtZT0idGFsa2luZ2hlYWQiIHZhbHVlPSJ0cnVlIi8+PHVpc2hvdyBuYW1lPSJzaWRlYmFyb25yaWdodCIgdmFsdWU9InRydWUiLz48dWlzaG93IG5hbWU9InZpZXdjaGFuZ2UiIHZhbHVlPSJ0cnVlIi8+PHVpc2hvdyBuYW1lPSJhbHdheXNTY3J1bmNoIiB2YWx1ZT0iZmFsc2UiLz48dWlzaG93IG5hbWU9ImluaXRpYWxkaXNwbGF5bW9kZWlzbm9ybWFsIiB2YWx1ZT0idHJ1ZSIvPjx1aXJlcGxhY2UgbmFtZT0ibG9nbyIgdmFsdWU9IiIvPjx1aXJlcGxhY2UgbmFtZT0iYmdpbWFnZSIgdmFsdWU9IiIvPjx1aXJlcGxhY2UgbmFtZT0iaW5pdGlhbHRhYiIgdmFsdWU9Im91dGxpbmUiLz48L2xheW91dD4NCgk8cHJlbG9hZGVyPjxzZXRCb29sIG5hbWU9ImRpc2FibGVBc3NldFByZWxvYWRlciIgdmFsdWU9InRydWUiLz48L3ByZWxvYWRlcj48bGFuZ3VhZ2UgaWQ9ImVu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lNsaWRlICVuIi8+DQoJCTwhLS0gc3Vic3RpdHV0aW9uOiAlbiA9PSBzbGlkZSBudW1iZXIgLS0+DQoJCTwhLS0gc3Vic3RpdHV0aW9uOiAldCA9PSB0b3RhbCBzbGlkZSBjb3VudCAtLT4NCgkJPHVpdGV4dCBuYW1lPSJTQ1JVQkJBUlNUQVRVU19TTElERUlORk8iIHZhbHVlPSJTbGlkZSAlbiAvICV0IHwgIi8+DQoJCTx1aXRleHQgbmFtZT0iU0NSVUJCQVJTVEFUVVNfU1RPUFBFRCIgdmFsdWU9IlN0b3BwZWQiLz4NCgkJPHVpdGV4dCBuYW1lPSJTQ1JVQkJBUlNUQVRVU19QTEFZSU5HIiB2YWx1ZT0iUGxheWluZyIvPg0KCQk8dWl0ZXh0IG5hbWU9IlNDUlVCQkFSU1RBVFVTX05PQVVESU8iIHZhbHVlPSJObyBBdWRpbyIvPg0KCQk8dWl0ZXh0IG5hbWU9IlNDUlVCQkFSU1RBVFVTX1ZJRFBMQVlJTkciIHZhbHVlPSJWaWRlbyBQbGF5aW5nIi8+DQoJCTx1aXRleHQgbmFtZT0iU0NSVUJCQVJTVEFUVVNfTE9BRElORyIgdmFsdWU9IkxvYWRpbmciLz4NCgkJPHVpdGV4dCBuYW1lPSJTQ1JVQkJBUlNUQVRVU19CVUZGRVJJTkciIHZhbHVlPSJCdWZmZXJpbmciLz4NCgkJPHVpdGV4dCBuYW1lPSJTQ1JVQkJBUlNUQVRVU19RVUVTVElPTiIgdmFsdWU9IkFuc3dlciBRdWVzdGlvbiIvPg0KCQk8dWl0ZXh0IG5hbWU9IlNDUlVCQkFSU1RBVFVTX1JFVklFV1FVSVoiIHZhbHVlPSJSZXZpZXdpbmcgUXVpeiIvPg0KCQk8IS0tIHN1YnN0aXR1dGlvbjogJW0gPT0gbWludXRlcyByZW1haW5pbmcgLS0+DQoJCTwhLS0gc3Vic3RpdHV0aW9uOiAlcyA9PSBzZWNvbmRzIHJlbWFpbmluZyAtLT4NCgkJPHVpdGV4dCBuYW1lPSJFTEFQU0VEIiB2YWx1ZT0iJW0gTWludXRlcyAlcyBTZWNvbmRzIFJlbWFpbmluZyIvPg0KCQk8dWl0ZXh0IG5hbWU9Ik5PVEZPVU5EIiB2YWx1ZT0iTm90aGluZyBGb3VuZCIvPg0KCQk8dWl0ZXh0IG5hbWU9IkFUVEFDSE1FTlRTIiB2YWx1ZT0iQXR0YWNobWVudHMiLz4NCgkJPCEtLSBzdWJzdGl0dXRpb246ICVwID09IGN1cnJlbnQgc3BlYWtlcidzIHRpdGxlIC0tPg0KCQk8dWl0ZXh0IG5hbWU9IkJJT1dJTl9USVRMRSIgdmFsdWU9IkJpbzogJXAiLz4NCgkJPHVpdGV4dCBuYW1lPSJCSU9CVE5fVElUTEUiIHZhbHVlPSJCaW8iLz4NCgkJPHVpdGV4dCBuYW1lPSJESVZJREVSQlROX1RJVExFIiB2YWx1ZT0ifCIvPg0KCQk8dWl0ZXh0IG5hbWU9IkNPTlRBQ1RCVE5fVElUTEUiIHZhbHVlPSJDb250YWN0Ii8+DQoJCTx1aXRleHQgbmFtZT0iVEFCX1FVSVoiIHZhbHVlPSJRdWl6Ii8+DQoJCTx1aXRleHQgbmFtZT0iVEFCX09VVExJTkUiIHZhbHVlPSJPdXRsaW5lIi8+DQoJCTx1aXRleHQgbmFtZT0iVEFCX1RIVU1CIiB2YWx1ZT0iVGh1bWIiLz4NCgkJPHVpdGV4dCBuYW1lPSJUQUJfTk9URVMiIHZhbHVlPSJOb3RlcyIvPg0KCQk8dWl0ZXh0IG5hbWU9IlRBQl9TRUFSQ0giIHZhbHVlPSJTZWFyY2giLz4NCgkJPHVpdGV4dCBuYW1lPSJTTElERV9IRUFESU5HIiB2YWx1ZT0iU2xpZGUgVGl0bGUiLz4NCgkJPHVpdGV4dCBuYW1lPSJEVVJBVElPTl9IRUFESU5HIiB2YWx1ZT0iRHVyYXRpb24iLz4NCgkJPHVpdGV4dCBuYW1lPSJTRUFSQ0hfSEVBRElORyIgdmFsdWU9IlNlYXJjaCBmb3IgdGV4dDoiLz4NCgkJPHVpdGV4dCBuYW1lPSJUSFVNQl9IRUFESU5HIiB2YWx1ZT0iU2xpZGUiLz4NCgkJPHVpdGV4dCBuYW1lPSJUSFVNQl9JTkZPIiB2YWx1ZT0iU2xpZGUgVGl0bGUvRHVyYXRpb24iLz4NCgkJPHVpdGV4dCBuYW1lPSJBVFRBQ0hOQU1FX0hFQURJTkciIHZhbHVlPSJGaWxlIE5hbWUiLz4NCgkJPHVpdGV4dCBuYW1lPSJBVFRBQ0hTSVpFX0hFQURJTkciIHZhbHVlPSJTaXplIi8+DQoJCTx1aXRleHQgbmFtZT0iU0xJREVfTk9URVMiIHZhbHVlPSJTbGlkZSBOb3RlcyIvPg0KCQk8IS0tcXVpeiBwb2QgYW5kIG1lc3NhZ2UgYm94IHRleHRzLS0+DQoJCTx1aXRleHQgbmFtZT0iUVVJWlBPRF9RVUlaX0FUVEVNUFQiIHZhbHVlPSJRdWl6IEF0dGVtcHQ6Ii8+DQoJCTx1aXRleHQgbmFtZT0iUVVJWlBPRF9RVUlaX0FUVEVNUFRfVkFMVUUiIHZhbHVlPSIlbiBvZiAldCIvPg0KCQk8dWl0ZXh0IG5hbWU9IlFVSVpQT0RfUVVJWl9TQ09SRSIgdmFsdWU9IlNjb3JlZDoiLz4NCgkJPHVpdGV4dCBuYW1lPSJRVUlaUE9EX1FVSVpfUEFTU1NDT1JFIiB2YWx1ZT0iUGFzc2luZyBTY29yZToiLz4NCgkJPHVpdGV4dCBuYW1lPSJRVUlaUE9EX1FVSVpfTUFYU0NPUkUiIHZhbHVlPSJNYXggU2NvcmU6Ii8+DQoJCTx1aXRleHQgbmFtZT0iUVVJWlBPRF9RVUVTQVRNUFRfU1RSIiB2YWx1ZT0iQXR0ZW1wdDogJW4gb2YgJXQiLz4NCgkJPHVpdGV4dCBuYW1lPSJRVUlaUE9EX1FVRVNUWVBFX1NUUiIgdmFsdWU9IlR5cGU6ICVzIi8+DQoJCTx1aXRleHQgbmFtZT0iUVVJWlBPRF9RVUVTVFlQRV9HUkQiIHZhbHVlPSJHcmFkZWQiLz4NCgkJPHVpdGV4dCBuYW1lPSJRVUlaUE9EX1FVRVNUWVBFX1NWWSIgdmFsdWU9IlN1cnZleSIvPg0KCQk8dWl0ZXh0IG5hbWU9IlFVSVpQT0RfUVVJWkFUTVBUX0lORiIgdmFsdWU9IkluZmluaXRlIi8+DQoJCTx1aXRleHQgbmFtZT0iUVVJWlBPRF9RVUVTQVRNUFRfSU5GIiB2YWx1ZT0iSW5maW5pdGUiLz4NCgkJPHVpdGV4dCBuYW1lPSJXQVJOSU5HTVNHX1lFU1NUUklORyIgdmFsdWU9IlllcyIvPg0KCQk8dWl0ZXh0IG5hbWU9IldBUk5JTkdNU0dfTk9TVFJJTkciIHZhbHVlPSJObyIvPg0KCQk8dWl0ZXh0IG5hbWU9IldBUk5JTkdNU0dfVElUTEVTVFJJTkciIHZhbHVlPSJRdWl6IE5hdmlnYXRpb24gV2FybmluZyIvPg0KCQk8dWl0ZXh0IG5hbWU9IldBUk5JTkdNU0dfTVNHU1RSSU5HIiB2YWx1ZT0iVGhlcmUgYXJlIHVuLWF0dGVtcHRlZCBxdWVzdGlvbnMgaW4gdGhpcyBRdWl6LiYjeEE7JiN4QTtDbGlja2luZyBZZXMgd2lsbCB0YWtlIHlvdSBvdXQgb2YgdGhlIFF1aXouIENsaWNrIE5vIHRvIGNvbnRpbnVlIHRoZSBRdWl6LiIvPg0KCQk8dWl0ZXh0IG5hbWU9IklORk9STUFUSU9OX0gyNjRfRkxBU0hQTEFZRVIiIHZhbHVlPSJUaGUgY3VycmVudCB2ZXJzaW9uIG9mIEZsYXNoIFBsYXllciBpbnN0YWxsZWQgb24geW91ciBtYWNoaW5lIGRvZXMgbm90IHN1cHBvcnQgdGhpcyB2aWRlby4gQ2xpY2sgb24gdGhlIHZpZGVvIGFyZWEgdG8gZG93bmxvYWQgdGhlIGxhdGVzdC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lNob3cgc2lkZWJhciB0byBwYXJ0aWNpcGFudHMiLz4NCgkJPHVpdGV4dCBuYW1lPSJNVVRFIiB2YWx1ZT0iTXV0ZSIvPg0KCQk8dWl0ZXh0IG5hbWU9IkRPQ1dSQVBfVElUTEUiIHZhbHVlPSJQcmVzZW50ZXIgRmlsZSBBdHRhY2htZW50Ii8+DQoJCTx1aXRleHQgbmFtZT0iRE9DV1JBUF9NU0ciIHZhbHVlPSJTYXZlIHRvIE15IENvbXB1dGVyIi8+DQoJCTx1aXRleHQgbmFtZT0iRE9DV1JBUF9QUk9NUFQiIHZhbHVlPSJDbGljayB0byBEb3dubG9hZCIvPg0KCTwvbGFuZ3VhZ2U+DQoJPGxhbmd1YWdlIGlkPSJkZS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Gb2xpZSAlbiIvPg0KCQk8IS0tIHN1YnN0aXR1dGlvbjogJW4gPT0gc2xpZGUgbnVtYmVyIC0tPg0KCQk8IS0tIHN1YnN0aXR1dGlvbjogJXQgPT0gdG90YWwgc2xpZGUgY291bnQgLS0+DQoJCTx1aXRleHQgbmFtZT0iU0NSVUJCQVJTVEFUVVNfU0xJREVJTkZPIiB2YWx1ZT0iRm9saWUgJW4gLyAldCB8ICIvPg0KCQk8dWl0ZXh0IG5hbWU9IlNDUlVCQkFSU1RBVFVTX1NUT1BQRUQiIHZhbHVlPSJCZWVuZGV0Ii8+DQoJCTx1aXRleHQgbmFtZT0iU0NSVUJCQVJTVEFUVVNfUExBWUlORyIgdmFsdWU9IldpZWRlcmdhYmUiLz4NCgkJPHVpdGV4dCBuYW1lPSJTQ1JVQkJBUlNUQVRVU19OT0FVRElPIiB2YWx1ZT0iS2VpbiBBdWRpbyIvPg0KCQk8dWl0ZXh0IG5hbWU9IlNDUlVCQkFSU1RBVFVTX1ZJRFBMQVlJTkciIHZhbHVlPSJWaWRlbyB3aXJkIGFiZ2VzcGllbHQiLz4NCgkJPHVpdGV4dCBuYW1lPSJTQ1JVQkJBUlNUQVRVU19MT0FESU5HIiB2YWx1ZT0iTGFkZW4iLz4NCgkJPHVpdGV4dCBuYW1lPSJTQ1JVQkJBUlNUQVRVU19CVUZGRVJJTkciIHZhbHVlPSJQdWZmZXJuIi8+DQoJCTx1aXRleHQgbmFtZT0iU0NSVUJCQVJTVEFUVVNfUVVFU1RJT04iIHZhbHVlPSJGcmFnZSBiZWFudHdvcnRlbiIvPg0KCQk8dWl0ZXh0IG5hbWU9IlNDUlVCQkFSU1RBVFVTX1JFVklFV1FVSVoiIHZhbHVlPSJOb2NobWFscyBkdXJjaHNlaGVuIi8+DQoJCTwhLS0gc3Vic3RpdHV0aW9uOiAlbSA9PSBtaW51dGVzIHJlbWFpbmluZyAtLT4NCgkJPCEtLSBzdWJzdGl0dXRpb246ICVzID09IHNlY29uZHMgcmVtYWluaW5nIC0tPg0KCQk8dWl0ZXh0IG5hbWU9IkVMQVBTRUQiIHZhbHVlPSJSZXN0ZGF1ZXI6ICVtIE1pbnV0ZW4gJXMgU2VrdW5kZW4iLz4NCgkJPHVpdGV4dCBuYW1lPSJOT1RGT1VORCIgdmFsdWU9Ik5pY2h0cyBnZWZ1bmRlbiIvPg0KCQk8dWl0ZXh0IG5hbWU9IkFUVEFDSE1FTlRTIiB2YWx1ZT0iQW5sYWdlbiIvPg0KCQk8IS0tIHN1YnN0aXR1dGlvbjogJXAgPT0gY3VycmVudCBzcGVha2VyJ3MgdGl0bGUgLS0+DQoJCTx1aXRleHQgbmFtZT0iQklPV0lOX1RJVExFIiB2YWx1ZT0iU3ByZWNoZXI6ICVwIi8+DQoJCTx1aXRleHQgbmFtZT0iQklPQlROX1RJVExFIiB2YWx1ZT0iU3ByZWNoZXIiLz4NCgkJPHVpdGV4dCBuYW1lPSJESVZJREVSQlROX1RJVExFIiB2YWx1ZT0ifCIvPg0KCQk8dWl0ZXh0IG5hbWU9IkNPTlRBQ1RCVE5fVElUTEUiIHZhbHVlPSJLb250YWt0Ii8+DQoJCTx1aXRleHQgbmFtZT0iVEFCX1FVSVoiIHZhbHVlPSJRdWl6Ii8+DQoJCTx1aXRleHQgbmFtZT0iVEFCX09VVExJTkUiIHZhbHVlPSJTdHJ1a3R1ciIvPg0KCQk8dWl0ZXh0IG5hbWU9IlRBQl9USFVNQiIgdmFsdWU9Ik1pbmlhdHVyIi8+DQoJCTx1aXRleHQgbmFtZT0iVEFCX05PVEVTIiB2YWx1ZT0iTm90aXplbiIvPg0KCQk8dWl0ZXh0IG5hbWU9IlRBQl9TRUFSQ0giIHZhbHVlPSJTdWNoZW4iLz4NCgkJPHVpdGV4dCBuYW1lPSJTTElERV9IRUFESU5HIiB2YWx1ZT0iRm9saWVudGl0ZWwiLz4NCgkJPHVpdGV4dCBuYW1lPSJEVVJBVElPTl9IRUFESU5HIiB2YWx1ZT0iRGF1ZXIiLz4NCgkJPHVpdGV4dCBuYW1lPSJTRUFSQ0hfSEVBRElORyIgdmFsdWU9IlRleHQgc3VjaGVuOiIvPg0KCQk8dWl0ZXh0IG5hbWU9IlRIVU1CX0hFQURJTkciIHZhbHVlPSJGb2xpZSIvPg0KCQk8dWl0ZXh0IG5hbWU9IlRIVU1CX0lORk8iIHZhbHVlPSJGb2xpZW50aXRlbC9EYXVlciIvPg0KCQk8dWl0ZXh0IG5hbWU9IkFUVEFDSE5BTUVfSEVBRElORyIgdmFsdWU9IkRhdGVpbmFtZSIvPg0KCQk8dWl0ZXh0IG5hbWU9IkFUVEFDSFNJWkVfSEVBRElORyIgdmFsdWU9Ikdyw7bDn2UiLz4NCgkJPHVpdGV4dCBuYW1lPSJTTElERV9OT1RFUyIgdmFsdWU9IkZvbGllbm5vdGl6ZW4iLz4NCgkJPCEtLXF1aXogcG9kIGFuZCBtZXNzYWdlIGJveCB0ZXh0cy0tPg0KCQk8dWl0ZXh0IG5hbWU9IlFVSVpQT0RfUVVJWl9BVFRFTVBUIiB2YWx1ZT0iUXVpenZlcnN1Y2g6Ii8+DQoJCTx1aXRleHQgbmFtZT0iUVVJWlBPRF9RVUlaX0FUVEVNUFRfVkFMVUUiIHZhbHVlPSIlbiB2b24gJXQiLz4NCgkJPHVpdGV4dCBuYW1lPSJRVUlaUE9EX1FVSVpfU0NPUkUiIHZhbHVlPSJFcnJlaWNodDoiLz4NCgkJPHVpdGV4dCBuYW1lPSJRVUlaUE9EX1FVSVpfUEFTU1NDT1JFIiB2YWx1ZT0iTWluZGVzdHB1bmt0emFobDoiLz4NCgkJPHVpdGV4dCBuYW1lPSJRVUlaUE9EX1FVSVpfTUFYU0NPUkUiIHZhbHVlPSJNYXhpbWFsZSBQdW5rdHphaGw6Ii8+DQoJCTx1aXRleHQgbmFtZT0iUVVJWlBPRF9RVUVTQVRNUFRfU1RSIiB2YWx1ZT0iVmVyc3VjaDogJW4gdm9uICV0Ii8+DQoJCTx1aXRleHQgbmFtZT0iUVVJWlBPRF9RVUVTVFlQRV9TVFIiIHZhbHVlPSJUeXA6ICVzIi8+DQoJCTx1aXRleHQgbmFtZT0iUVVJWlBPRF9RVUVTVFlQRV9HUkQiIHZhbHVlPSJCZXdlcnRldCIvPg0KCQk8dWl0ZXh0IG5hbWU9IlFVSVpQT0RfUVVFU1RZUEVfU1ZZIiB2YWx1ZT0iVW1mcmFnZSIvPg0KCQk8dWl0ZXh0IG5hbWU9IlFVSVpQT0RfUVVJWkFUTVBUX0lORiIgdmFsdWU9IlVuZW5kbGljaCIvPg0KCQk8dWl0ZXh0IG5hbWU9IlFVSVpQT0RfUVVFU0FUTVBUX0lORiIgdmFsdWU9IlVuZW5kbGljaCIvPg0KCQk8dWl0ZXh0IG5hbWU9IldBUk5JTkdNU0dfWUVTU1RSSU5HIiB2YWx1ZT0iSmEiLz4NCgkJPHVpdGV4dCBuYW1lPSJXQVJOSU5HTVNHX05PU1RSSU5HIiB2YWx1ZT0iTmVpbiIvPg0KCQk8dWl0ZXh0IG5hbWU9IldBUk5JTkdNU0dfVElUTEVTVFJJTkciIHZhbHVlPSJRdWl6bmF2aWdhdGlvbnN3YXJudW5nIi8+DQoJCTx1aXRleHQgbmFtZT0iV0FSTklOR01TR19NU0dTVFJJTkciIHZhbHVlPSJJbiBkaWVzZW0gUXVpeiBnaWJ0IGVzIHVuYmVhbnR3b3J0ZXRlIEZyYWdlbi4mI3hBOyYjeEE7V2VubiBTaWUgYXVmICZxdW90O0phJnF1b3Q7IGtsaWNrZW4sIHdpcmQgZGFzIFF1aXogYmVlbmRldC4gS2xpY2tlbiBTaWUgYXVmICZxdW90O05laW4mcXVvdDssIHVtIG1pdCBkZW0gUXVpeiBmb3J0enVmYWhyZW4uIi8+DQoJCTx1aXRleHQgbmFtZT0iSU5GT1JNQVRJT05fSDI2NF9GTEFTSFBMQVlFUiIgdmFsdWU9IkRhcyBWaWRlbyB3aXJkIHZvbiBkZXIgbW9tZW50YW4gYXVmIGRpZXNlbSBDb21wdXRlciBpbnN0YWxsaWVydGVuIFZlcnNpb24gdm9uIEZsYXNoIFBsYXllciBuaWNodCB1bnRlcnN0w7x0enQuIEtsaWNrZW4gU2llIGF1ZiBkZW4gVmlkZW9iZXJlaWNoLCB1bSBkaWUgYWt0dWVsbGUgVmVyc2lvbiB2b24gRmxhc2ggUGxheWVyIGhlcnVudGVyenVsYWRlb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RGVuIFRlaWxuZWhtZXJuIGRpZSBTZWl0ZW5sZWlzdGUgYW56ZWlnZW4iLz4NCgkJPHVpdGV4dCBuYW1lPSJNVVRFIiB2YWx1ZT0iVG9uIGF1cyIvPg0KCQk8dWl0ZXh0IG5hbWU9IkRPQ1dSQVBfVElUTEUiIHZhbHVlPSJQcmVzZW50ZXItQW5oYW5nIi8+DQoJCTx1aXRleHQgbmFtZT0iRE9DV1JBUF9NU0ciIHZhbHVlPSJBdWYgbWVpbmVtIEFyYmVpdHNwbGF0eiBzcGVpY2hlcm4iLz4NCgkJPHVpdGV4dCBuYW1lPSJET0NXUkFQX1BST01QVCIgdmFsdWU9Ilp1bSBIZXJ1bnRlcmxhZGVuIGtsaWNrZW4iLz4NCgk8L2xhbmd1YWdlPg0KCTxsYW5ndWFnZSBpZD0iZnI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RGlhcG9zaXRpdmUgJW4iLz4NCgkJPCEtLSBzdWJzdGl0dXRpb246ICVuID09IHNsaWRlIG51bWJlciAtLT4NCgkJPCEtLSBzdWJzdGl0dXRpb246ICV0ID09IHRvdGFsIHNsaWRlIGNvdW50IC0tPg0KCQk8dWl0ZXh0IG5hbWU9IlNDUlVCQkFSU1RBVFVTX1NMSURFSU5GTyIgdmFsdWU9IkRpYXBvc2l0aXZlICVuIC8gJXQgfCAiLz4NCgkJPHVpdGV4dCBuYW1lPSJTQ1JVQkJBUlNUQVRVU19TVE9QUEVEIiB2YWx1ZT0iQXJyw6p0w6llIi8+DQoJCTx1aXRleHQgbmFtZT0iU0NSVUJCQVJTVEFUVVNfUExBWUlORyIgdmFsdWU9IkxlY3R1cmUiLz4NCgkJPHVpdGV4dCBuYW1lPSJTQ1JVQkJBUlNUQVRVU19OT0FVRElPIiB2YWx1ZT0iUGFzIGRlIHNvbiIvPg0KCQk8dWl0ZXh0IG5hbWU9IlNDUlVCQkFSU1RBVFVTX1ZJRFBMQVlJTkciIHZhbHVlPSJMZWN0dXJlIHZpZMOpbyBlbiBjb3VycyIvPg0KCQk8dWl0ZXh0IG5hbWU9IlNDUlVCQkFSU1RBVFVTX0xPQURJTkciIHZhbHVlPSJDaGFyZ2VtZW50IGVuIGNvdXJzIi8+DQoJCTx1aXRleHQgbmFtZT0iU0NSVUJCQVJTVEFUVVNfQlVGRkVSSU5HIiB2YWx1ZT0iTWlzZSBlbiBtw6ltb2lyZSIvPg0KCQk8dWl0ZXh0IG5hbWU9IlNDUlVCQkFSU1RBVFVTX1FVRVNUSU9OIiB2YWx1ZT0iUsOpcG9uZHJlIMOgIGxhIHF1ZXN0aW9uIi8+DQoJCTx1aXRleHQgbmFtZT0iU0NSVUJCQVJTVEFUVVNfUkVWSUVXUVVJWiIgdmFsdWU9IlLDqXZpc2lvbiBkdSBxdWVzdGlvbm5haXJlIi8+DQoJCTwhLS0gc3Vic3RpdHV0aW9uOiAlbSA9PSBtaW51dGVzIHJlbWFpbmluZyAtLT4NCgkJPCEtLSBzdWJzdGl0dXRpb246ICVzID09IHNlY29uZHMgcmVtYWluaW5nIC0tPg0KCQk8dWl0ZXh0IG5hbWU9IkVMQVBTRUQiIHZhbHVlPSIlbSBtaW51dGVzICVzIHNlY29uZGVzIHJlc3RhbnRlcyIvPg0KCQk8dWl0ZXh0IG5hbWU9Ik5PVEZPVU5EIiB2YWx1ZT0iUmllbiB0cm91dsOpIi8+DQoJCTx1aXRleHQgbmFtZT0iQVRUQUNITUVOVFMiIHZhbHVlPSJQacOoY2VzIGpvaW50ZXMiLz4NCgkJPCEtLSBzdWJzdGl0dXRpb246ICVwID09IGN1cnJlbnQgc3BlYWtlcidzIHRpdGxlIC0tPg0KCQk8dWl0ZXh0IG5hbWU9IkJJT1dJTl9USVRMRSIgdmFsdWU9IkJpbyA6ICVwIi8+DQoJCTx1aXRleHQgbmFtZT0iQklPQlROX1RJVExFIiB2YWx1ZT0iQmlvIDoiLz4NCgkJPHVpdGV4dCBuYW1lPSJESVZJREVSQlROX1RJVExFIiB2YWx1ZT0ifCIvPg0KCQk8dWl0ZXh0IG5hbWU9IkNPTlRBQ1RCVE5fVElUTEUiIHZhbHVlPSJDb250YWN0Ii8+DQoJCTx1aXRleHQgbmFtZT0iVEFCX1FVSVoiIHZhbHVlPSJRdWl6Ii8+DQoJCTx1aXRleHQgbmFtZT0iVEFCX09VVExJTkUiIHZhbHVlPSJQbGFuIi8+DQoJCTx1aXRleHQgbmFtZT0iVEFCX1RIVU1CIiB2YWx1ZT0iRGlhcG9zIi8+DQoJCTx1aXRleHQgbmFtZT0iVEFCX05PVEVTIiB2YWx1ZT0iTm90ZXMiLz4NCgkJPHVpdGV4dCBuYW1lPSJUQUJfU0VBUkNIIiB2YWx1ZT0iUmVjaGVyY2hlIi8+DQoJCTx1aXRleHQgbmFtZT0iU0xJREVfSEVBRElORyIgdmFsdWU9IlRpdHJlIGRlIGxhIGRpYXBvc2l0aXZlIi8+DQoJCTx1aXRleHQgbmFtZT0iRFVSQVRJT05fSEVBRElORyIgdmFsdWU9IkR1csOpZSIvPg0KCQk8dWl0ZXh0IG5hbWU9IlNFQVJDSF9IRUFESU5HIiB2YWx1ZT0iUmVjaGVyY2hlIGRlIHRleHRlIDoiLz4NCgkJPHVpdGV4dCBuYW1lPSJUSFVNQl9IRUFESU5HIiB2YWx1ZT0iRGlhcG9zaXRpdmUiLz4NCgkJPHVpdGV4dCBuYW1lPSJUSFVNQl9JTkZPIiB2YWx1ZT0iVGl0cmUvZHVyw6llIi8+DQoJCTx1aXRleHQgbmFtZT0iQVRUQUNITkFNRV9IRUFESU5HIiB2YWx1ZT0iTm9tIGRlIGZpY2hpZXIiLz4NCgkJPHVpdGV4dCBuYW1lPSJBVFRBQ0hTSVpFX0hFQURJTkciIHZhbHVlPSJUYWlsbGUiLz4NCgkJPHVpdGV4dCBuYW1lPSJTTElERV9OT1RFUyIgdmFsdWU9IkNvbW1lbnRhaXJlcyBkZXMgZGlhcG9zaXRpdmVzIi8+DQoJCTwhLS1xdWl6IHBvZCBhbmQgbWVzc2FnZSBib3ggdGV4dHMtLT4NCgkJPHVpdGV4dCBuYW1lPSJRVUlaUE9EX1FVSVpfQVRURU1QVCIgdmFsdWU9IlRlbnRhdGl2ZSBkZSBxdWVzdGlvbm5haXJlIDoiLz4NCgkJPHVpdGV4dCBuYW1lPSJRVUlaUE9EX1FVSVpfQVRURU1QVF9WQUxVRSIgdmFsdWU9IiVuIHN1ciAldCIvPg0KCQk8dWl0ZXh0IG5hbWU9IlFVSVpQT0RfUVVJWl9TQ09SRSIgdmFsdWU9Ik5vdGUgb2J0ZW51ZSA6Ii8+DQoJCTx1aXRleHQgbmFtZT0iUVVJWlBPRF9RVUlaX1BBU1NTQ09SRSIgdmFsdWU9Ik5vdGUgZCdhZG1pc3NpYmlsaXTDqcKgOiIvPg0KCQk8dWl0ZXh0IG5hbWU9IlFVSVpQT0RfUVVJWl9NQVhTQ09SRSIgdmFsdWU9Ik5vdGUgbWF4aW1hbGUgOiIvPg0KCQk8dWl0ZXh0IG5hbWU9IlFVSVpQT0RfUVVFU0FUTVBUX1NUUiIgdmFsdWU9IlRlbnRhdGl2ZSA6ICVuIHN1ciAldCIvPg0KCQk8dWl0ZXh0IG5hbWU9IlFVSVpQT0RfUVVFU1RZUEVfU1RSIiB2YWx1ZT0iVHlwZTogJXMiLz4NCgkJPHVpdGV4dCBuYW1lPSJRVUlaUE9EX1FVRVNUWVBFX0dSRCIgdmFsdWU9Ik5vdMOpIi8+DQoJCTx1aXRleHQgbmFtZT0iUVVJWlBPRF9RVUVTVFlQRV9TVlkiIHZhbHVlPSJFbnF1w6p0ZSIvPg0KCQk8dWl0ZXh0IG5hbWU9IlFVSVpQT0RfUVVJWkFUTVBUX0lORiIgdmFsdWU9IklsbGltaXTDqSIvPg0KCQk8dWl0ZXh0IG5hbWU9IlFVSVpQT0RfUVVFU0FUTVBUX0lORiIgdmFsdWU9IklsbGltaXTDqSIvPg0KCQk8dWl0ZXh0IG5hbWU9IldBUk5JTkdNU0dfWUVTU1RSSU5HIiB2YWx1ZT0iT3VpIi8+DQoJCTx1aXRleHQgbmFtZT0iV0FSTklOR01TR19OT1NUUklORyIgdmFsdWU9Ik5vbiIvPg0KCQk8dWl0ZXh0IG5hbWU9IldBUk5JTkdNU0dfVElUTEVTVFJJTkciIHZhbHVlPSJBdmVydGlzc2VtZW50IGRlIG5hdmlnYXRpb24gZHUgcXVlc3Rpb25uYWlyZSIvPg0KCQk8dWl0ZXh0IG5hbWU9IldBUk5JTkdNU0dfTVNHU1RSSU5HIiB2YWx1ZT0iVm91cyBuJ2F2ZXogcGFzIHLDqXBvbmR1IMOgIGNlcnRhaW5lcyBxdWVzdGlvbnMgZGUgY2UgcXVlc3Rpb25uYWlyZS4mI3hBOyYjeEE7U2kgdm91cyBjbGlxdWV6IHN1ciBPdWksIHZvdXMgcXVpdHRlcmV6IGxlIHF1ZXN0aW9ubmFpcmUuIENsaXF1ZXogc3VyIE5vbiBwb3VyIGNvbnRpbnVlciBsZSBxdWVzdGlvbm5haXJlLiIvPg0KCQk8dWl0ZXh0IG5hbWU9IklORk9STUFUSU9OX0gyNjRfRkxBU0hQTEFZRVIiIHZhbHVlPSJMYSB2ZXJzaW9uIGRlIEZsYXNoIFBsYXllciBhY3R1ZWxsZW1lbnQgaW5zdGFsbMOpZSBzdXIgdm90cmUgbWFjaGluZSBuZSBwcmVuZCBwYXMgZW4gY2hhcmdlIGNlIHR5cGUgZGUgdmlkw6lvLiBDbGlxdWV6IHN1ciBsYSB6b25lIHZpZMOpbyBwb3VyIHTDqWzDqWNoYXJnZXIgbGEgZGVybmnDqHJlIHZlcnNpb24gZGUgRmxhc2ggUGxheWVy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Nb250cmVyIGwnZW5jYWRyw6kgYXV4IHBhcnRpY2lwYW50cyIvPg0KCQk8dWl0ZXh0IG5hbWU9Ik1VVEUiIHZhbHVlPSJNdWV0Ii8+DQoJCTx1aXRleHQgbmFtZT0iRE9DV1JBUF9USVRMRSIgdmFsdWU9IlBpw6hjZSBqb2ludGUgUHJlc2VudGVyIi8+DQoJCTx1aXRleHQgbmFtZT0iRE9DV1JBUF9NU0ciIHZhbHVlPSJFbnJlZ2lzdHJlciBzdXIgbW9uIG9yZGluYXRldXIiLz4NCgkJPHVpdGV4dCBuYW1lPSJET0NXUkFQX1BST01QVCIgdmFsdWU9IkNsaXF1ZXIgcG91ciB0w6lsw6ljaGFyZ2VyIi8+DQoJPC9sYW5ndWFnZT4NCgk8bGFuZ3VhZ2UgaWQ9ImphIj4NCgkJPCEtLSBmb3JtYXQgZm9yIHVpZm9udCB2YWx1ZSBpcyAiZm9udCxzaXplLGlzYm9sZCxpc2l0YWxpYyxpc3NoYWRvd2VkIiAtLT4NCgkJPHVpZm9udCBuYW1lPSJGT05UX1FVSVpaSU5HIiB2YWx1ZT0iVmVyZGFuYSw5LGZhbHNlLGZhbHNlLGZhbHNlIi8+DQoJCTx1aWZvbnQgbmFtZT0iRk9OVF9TQ1JVQlNUQVRVUyIgdmFsdWU9IlZlcmRhbmEsMTEsZmFsc2UsZmFsc2UsdHJ1ZSIvPg0KCQk8dWlmb250IG5hbWU9IkZPTlRfU0NSVUJUSU1FIiB2YWx1ZT0iVmVyZGFuYSw5LGZhbHNlLGZhbHNlLHRydWUiLz4NCgkJPHVpZm9udCBuYW1lPSJGT05UX0VMQVBTRURUSU1FIiB2YWx1ZT0iVmVyZGFuYSwxMSx0cnVlLGZhbHNlLGZhbHNlIi8+DQoJCTx1aWZvbnQgbmFtZT0iRk9OVF9VVElMU01FTlUiIHZhbHVlPSJWZXJkYW5hLDksdHJ1ZSxmYWxzZSxmYWxzZSIvPg0KCQk8dWlmb250IG5hbWU9IkZPTlRfVEFCUyIgdmFsdWU9IlZlcmRhbmEsMTAsZmFsc2UsZmFsc2UsZmFsc2UiLz4NCgkJPHVpZm9udCBuYW1lPSJGT05UX1BSRVNFTlRBVElPTk5BTUUiIHZhbHVlPSJWZXJkYW5hLDE1LGZhbHNlLGZhbHNlLHRydWUiLz4NCgkJPHVpZm9udCBuYW1lPSJGT05UX1BSRVNFTlRFUk5BTUUiIHZhbHVlPSJWZXJkYW5hLDE1LHRydWUsZmFsc2UsdHJ1ZSIvPg0KCQk8dWlmb250IG5hbWU9IkZPTlRfUFJFU0VOVEVSVElUTEUiIHZhbHVlPSJWZXJkYW5hLDEx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xMSxmYWxzZSxmYWxzZSx0cnVlIi8+DQoJCTx1aWZvbnQgbmFtZT0iRk9OVF9CSU9XSU4iIHZhbHVlPSJWZXJkYW5hLDExLGZhbHNlLGZhbHNlLGZhbHNlIi8+DQoJCTx1aWZvbnQgbmFtZT0iRk9OVF9MSVNUSEVBRElORyIgdmFsdWU9IlZlcmRhbmEsMTEsZmFsc2UsZmFsc2UsZmFsc2UiLz4NCgkJPHVpZm9udCBuYW1lPSJGT05UX1dJTlRJVExFIiB2YWx1ZT0iVmVyZGFuYSwxM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Ljgrnjg6njgqTjg4kgOiAlbiIvPg0KCQk8IS0tIHN1YnN0aXR1dGlvbjogJW4gPT0gc2xpZGUgbnVtYmVyIC0tPg0KCQk8IS0tIHN1YnN0aXR1dGlvbjogJXQgPT0gdG90YWwgc2xpZGUgY291bnQgLS0+DQoJCTx1aXRleHQgbmFtZT0iU0NSVUJCQVJTVEFUVVNfU0xJREVJTkZPIiB2YWx1ZT0i44K544Op44Kk44OJIDogJW4gLyAldCB8ICIvPg0KCQk8dWl0ZXh0IG5hbWU9IlNDUlVCQkFSU1RBVFVTX1NUT1BQRUQiIHZhbHVlPSLlgZzmraIiLz4NCgkJPHVpdGV4dCBuYW1lPSJTQ1JVQkJBUlNUQVRVU19QTEFZSU5HIiB2YWx1ZT0i5YaN55Sf5LitIi8+DQoJCTx1aXRleHQgbmFtZT0iU0NSVUJCQVJTVEFUVVNfTk9BVURJTyIgdmFsdWU9Iumfs+WjsOOBquOBlyIvPg0KCQk8dWl0ZXh0IG5hbWU9IlNDUlVCQkFSU1RBVFVTX1ZJRFBMQVlJTkciIHZhbHVlPSLjg5Pjg4fjgqrlho3nlJ/kuK0iLz4NCgkJPHVpdGV4dCBuYW1lPSJTQ1JVQkJBUlNUQVRVU19MT0FESU5HIiB2YWx1ZT0i44Ot44O844OJ5LitIi8+DQoJCTx1aXRleHQgbmFtZT0iU0NSVUJCQVJTVEFUVVNfQlVGRkVSSU5HIiB2YWx1ZT0i44OQ44OD44OV44Kh5LitIi8+DQoJCTx1aXRleHQgbmFtZT0iU0NSVUJCQVJTVEFUVVNfUVVFU1RJT04iIHZhbHVlPSLos6rllY/jgavnrZTjgYjjgabkuIvjgZXjgYQiLz4NCgkJPHVpdGV4dCBuYW1lPSJTQ1JVQkJBUlNUQVRVU19SRVZJRVdRVUlaIiB2YWx1ZT0i44Kv44Kk44K644KS44Os44OT44Ol44O844GX44Gm44GE44G+44GZIi8+DQoJCTwhLS0gc3Vic3RpdHV0aW9uOiAlbSA9PSBtaW51dGVzIHJlbWFpbmluZyAtLT4NCgkJPCEtLSBzdWJzdGl0dXRpb246ICVzID09IHNlY29uZHMgcmVtYWluaW5nIC0tPg0KCQk8dWl0ZXh0IG5hbWU9IkVMQVBTRUQiIHZhbHVlPSLmrovjgoogOiAlbSDliIYgJXMg56eSIi8+DQoJCTx1aXRleHQgbmFtZT0iTk9URk9VTkQiIHZhbHVlPSLkvZXjgoLopovjgaTjgYvjgorjgb7jgZvjgpMiLz4NCgkJPHVpdGV4dCBuYW1lPSJBVFRBQ0hNRU5UUyIgdmFsdWU9Iua3u+S7mCIvPg0KCQk8IS0tIHN1YnN0aXR1dGlvbjogJXAgPT0gY3VycmVudCBzcGVha2VyJ3MgdGl0bGUgLS0+DQoJCTx1aXRleHQgbmFtZT0iQklPV0lOX1RJVExFIiB2YWx1ZT0i57WM5q20IDogJXAiLz4NCgkJPHVpdGV4dCBuYW1lPSJCSU9CVE5fVElUTEUiIHZhbHVlPSLntYzmrbQiLz4NCgkJPHVpdGV4dCBuYW1lPSJESVZJREVSQlROX1RJVExFIiB2YWx1ZT0ifCIvPg0KCQk8dWl0ZXh0IG5hbWU9IkNPTlRBQ1RCVE5fVElUTEUiIHZhbHVlPSLjgYrllY/jgYTlkIjjgo/jgZsiLz4NCgkJPHVpdGV4dCBuYW1lPSJUQUJfUVVJWiIgdmFsdWU9IuOCr+OCpOOCuiIvPg0KCQk8dWl0ZXh0IG5hbWU9IlRBQl9PVVRMSU5FIiB2YWx1ZT0i44Ki44Km44OI44Op44Kk44OzIi8+DQoJCTx1aXRleHQgbmFtZT0iVEFCX1RIVU1CIiB2YWx1ZT0i44K144Og44ON44O844OrIi8+DQoJCTx1aXRleHQgbmFtZT0iVEFCX05PVEVTIiB2YWx1ZT0i44OO44O844OIIi8+DQoJCTx1aXRleHQgbmFtZT0iVEFCX1NFQVJDSCIgdmFsdWU9IuaknOe0oiIvPg0KCQk8dWl0ZXh0IG5hbWU9IlNMSURFX0hFQURJTkciIHZhbHVlPSLjgrnjg6njgqTjg4njgr/jgqTjg4jjg6siLz4NCgkJPHVpdGV4dCBuYW1lPSJEVVJBVElPTl9IRUFESU5HIiB2YWx1ZT0i6ZW344GVIi8+DQoJCTx1aXRleHQgbmFtZT0iU0VBUkNIX0hFQURJTkciIHZhbHVlPSLmpJzntKLjgZnjgovjg4bjgq3jgrnjg4ggOiAiLz4NCgkJPHVpdGV4dCBuYW1lPSJUSFVNQl9IRUFESU5HIiB2YWx1ZT0i44K544Op44Kk44OJIi8+DQoJCTx1aXRleHQgbmFtZT0iVEhVTUJfSU5GTyIgdmFsdWU9IuOCueODqeOCpOODieOCv+OCpOODiOODqyAvIOmVt+OBlSIvPg0KCQk8dWl0ZXh0IG5hbWU9IkFUVEFDSE5BTUVfSEVBRElORyIgdmFsdWU9IuODleOCoeOCpOODq+WQjSIvPg0KCQk8dWl0ZXh0IG5hbWU9IkFUVEFDSFNJWkVfSEVBRElORyIgdmFsdWU9IuOCteOCpOOCuiIvPg0KCQk8dWl0ZXh0IG5hbWU9IlNMSURFX05PVEVTIiB2YWx1ZT0i44K544Op44Kk44OJ44OO44O844OIIi8+DQoJCTwhLS1xdWl6IHBvZCBhbmQgbWVzc2FnZSBib3ggdGV4dHMtLT4NCgkJPHVpdGV4dCBuYW1lPSJRVUlaUE9EX1FVSVpfQVRURU1QVCIgdmFsdWU9IuOCr+OCpOOCuuippuihjOWbnuaVsCA6ICIvPg0KCQk8dWl0ZXh0IG5hbWU9IlFVSVpQT0RfUVVJWl9BVFRFTVBUX1ZBTFVFIiB2YWx1ZT0iJW4gLyAldCIvPg0KCQk8dWl0ZXh0IG5hbWU9IlFVSVpQT0RfUVVJWl9TQ09SRSIgdmFsdWU9IuOCueOCs+OCoiA6ICIvPg0KCQk8dWl0ZXh0IG5hbWU9IlFVSVpQT0RfUVVJWl9QQVNTU0NPUkUiIHZhbHVlPSLlkIjmoLzngrkgOiIvPg0KCQk8dWl0ZXh0IG5hbWU9IlFVSVpQT0RfUVVJWl9NQVhTQ09SRSIgdmFsdWU9IuacgOmrmOW+l+eCuSA6ICIvPg0KCQk8dWl0ZXh0IG5hbWU9IlFVSVpQT0RfUVVFU0FUTVBUX1NUUiIgdmFsdWU9IuippuihjOWbnuaVsCA6ICVuIC8gJXQiLz4NCgkJPHVpdGV4dCBuYW1lPSJRVUlaUE9EX1FVRVNUWVBFX1NUUiIgdmFsdWU9IuOCv+OCpOODlyA6ICVzIi8+DQoJCTx1aXRleHQgbmFtZT0iUVVJWlBPRF9RVUVTVFlQRV9HUkQiIHZhbHVlPSLoqZXkvqEiLz4NCgkJPHVpdGV4dCBuYW1lPSJRVUlaUE9EX1FVRVNUWVBFX1NWWSIgdmFsdWU9IuOCouODs+OCseODvOODiCIvPg0KCQk8dWl0ZXh0IG5hbWU9IlFVSVpQT0RfUVVJWkFUTVBUX0lORiIgdmFsdWU9IueEoeWItumZkCIvPg0KCQk8dWl0ZXh0IG5hbWU9IlFVSVpQT0RfUVVFU0FUTVBUX0lORiIgdmFsdWU9IueEoeWItumZkCIvPg0KCQk8dWl0ZXh0IG5hbWU9IldBUk5JTkdNU0dfWUVTU1RSSU5HIiB2YWx1ZT0i44Gv44GEIi8+DQoJCTx1aXRleHQgbmFtZT0iV0FSTklOR01TR19OT1NUUklORyIgdmFsdWU9IuOBhOOBhOOBiCIvPg0KCQk8dWl0ZXh0IG5hbWU9IldBUk5JTkdNU0dfVElUTEVTVFJJTkciIHZhbHVlPSLjgq/jgqTjgrrjga7jg4rjg5PjgrLjg7zjgrfjg6fjg7PjgavplqLjgZnjgovorablkYoiLz4NCgkJPHVpdGV4dCBuYW1lPSJXQVJOSU5HTVNHX01TR1NUUklORyIgdmFsdWU9IuOBk+OBruOCr+OCpOOCuuOBq+OBr+OAgeOBvuOBoOino+etlOOBl+OBpuOBhOOBquOBhOizquWVj+OBjOOBguOCiuOBvuOBmeOAgiYjeEE7JiN4QTsg44Kv44Kk44K644KS57WC5LqG44GZ44KL44Gr44Gv44CB44CM44Gv44GE44CN44KS44Kv44Oq44OD44Kv44GX44G+44GZ44CC44Kv44Kk44K644KS57aa6KGM44GZ44KL44Gr44Gv44CB44CM44GE44GE44GI44CN44KS44Kv44Oq44OD44Kv44GX44G+44GZ44CCIi8+DQoJCTx1aXRleHQgbmFtZT0iSU5GT1JNQVRJT05fSDI2NF9GTEFTSFBMQVlFUiIgdmFsdWU9IuOBiuS9v+OBhOOBruOCs+ODs+ODlOODpeODvOOCv+OBq+ePvuWcqOOCpOODs+OCueODiOODvOODq+OBleOCjOOBpuOBhOOCiyBGbGFzaCBQbGF5ZXIg44Gu44OQ44O844K444On44Oz44Gv44CB44GT44Gu44OT44OH44Kq44KS44K144Od44O844OI44GX44Gm44GE44G+44Gb44KT44CC5pyA5paw44GuIEZsYXNoIFBsYXllciDjgpLjg4Djgqbjg7Pjg63jg7zjg4njgZnjgovjgavjga/jgIHjg5Pjg4fjgqrpoJjln5/jgpLjgq/jg6rjg4Pjgq/jgZfjgabjgY/jgaDjgZXjgYTjgII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44K144Kk44OJ44OQ44O844KS5Y+C5Yqg6ICF44Gr6KaL44Gb44KLIi8+DQoJCTx1aXRleHQgbmFtZT0iTVVURSIgdmFsdWU9IuODn+ODpeODvOODiCIvPg0KCQk8dWl0ZXh0IG5hbWU9IkRPQ1dSQVBfVElUTEUiIHZhbHVlPSJQcmVzZW50ZXIg5re75LuY44OV44Kh44Kk44OrIi8+DQoJCTx1aXRleHQgbmFtZT0iRE9DV1JBUF9NU0ciIHZhbHVlPSLjg57jgqTjgrPjg7Pjg5Tjg6Xjg7zjgr/jgavkv53lrZgiLz4NCgkJPHVpdGV4dCBuYW1lPSJET0NXUkFQX1BST01QVCIgdmFsdWU9IuOCr+ODquODg+OCr+OBl+OBpuODgOOCpuODs+ODreODvOODiSIvPg0KCTwvbGFuZ3VhZ2U+DQoJPGxhbmd1YWdlIGlkPSJrbyI+DQoJCTwhLS0gZm9ybWF0IGZvciB1aWZvbnQgdmFsdWUgaXMgImZvbnQsc2l6ZSxpc2JvbGQsaXNpdGFsaWMsaXNzaGFkb3dlZCIgLS0+DQoJCTx1aWZvbnQgbmFtZT0iRk9OVF9RVUlaWklORyIgdmFsdWU9IlZlcmRhbmEsOSxmYWxzZSxmYWxzZSxmYWxzZSIvPg0KCQk8dWlmb250IG5hbWU9IkZPTlRfU0NSVUJTVEFUVVMiIHZhbHVlPSJWZXJkYW5hLDExLGZhbHNlLGZhbHNlLHRydWUiLz4NCgkJPHVpZm9udCBuYW1lPSJGT05UX1NDUlVCVElNRSIgdmFsdWU9IlZlcmRhbmEsOSxmYWxzZSxmYWxzZSx0cnVlIi8+DQoJCTx1aWZvbnQgbmFtZT0iRk9OVF9FTEFQU0VEVElNRSIgdmFsdWU9IlZlcmRhbmEsMTEsdHJ1ZSxmYWxzZSxmYWxzZSIvPg0KCQk8dWlmb250IG5hbWU9IkZPTlRfVVRJTFNNRU5VIiB2YWx1ZT0iVmVyZGFuYSw5LHRydWUsZmFsc2UsZmFsc2UiLz4NCgkJPHVpZm9udCBuYW1lPSJGT05UX1RBQlMiIHZhbHVlPSJWZXJkYW5hLDExLGZhbHNlLGZhbHNlLGZhbHNlIi8+DQoJCTx1aWZvbnQgbmFtZT0iRk9OVF9QUkVTRU5UQVRJT05OQU1FIiB2YWx1ZT0iVmVyZGFuYSwxNSxmYWxzZSxmYWxzZSx0cnVlIi8+DQoJCTx1aWZvbnQgbmFtZT0iRk9OVF9QUkVTRU5URVJOQU1FIiB2YWx1ZT0iVmVyZGFuYSwxNSx0cnVlLGZhbHNlLHRydWUiLz4NCgkJPHVpZm9udCBuYW1lPSJGT05UX1BSRVNFTlRFUlRJVExFIiB2YWx1ZT0iVmVyZGFuYSwxMSxmYWxzZSxmYWxzZSx0cnVlIi8+DQoJCTx1aWZvbnQgbmFtZT0iRk9OVF9CSU9CVE4iIHZhbHVlPSJWZXJkYW5hLDEx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MTEsZmFsc2UsZmFsc2UsdHJ1ZSIvPg0KCQk8dWlmb250IG5hbWU9IkZPTlRfQklPV0lOIiB2YWx1ZT0iVmVyZGFuYSwxMSxmYWxzZSxmYWxzZSxmYWxzZSIvPg0KCQk8dWlmb250IG5hbWU9IkZPTlRfTElTVEhFQURJTkciIHZhbHVlPSJWZXJkYW5hLDExLGZhbHNlLGZhbHNlLGZhbHNlIi8+DQoJCTx1aWZvbnQgbmFtZT0iRk9OVF9XSU5USVRMRSIgdmFsdWU9IlZlcmRhbmEsMTE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7Iqs65287J2065OcICVuIi8+DQoJCTwhLS0gc3Vic3RpdHV0aW9uOiAlbiA9PSBzbGlkZSBudW1iZXIgLS0+DQoJCTwhLS0gc3Vic3RpdHV0aW9uOiAldCA9PSB0b3RhbCBzbGlkZSBjb3VudCAtLT4NCgkJPHVpdGV4dCBuYW1lPSJTQ1JVQkJBUlNUQVRVU19TTElERUlORk8iIHZhbHVlPSLsiqzrnbzsnbTrk5wgJW4gLyAldCB8ICIvPg0KCQk8dWl0ZXh0IG5hbWU9IlNDUlVCQkFSU1RBVFVTX1NUT1BQRUQiIHZhbHVlPSLspJHsp4DrkKgiLz4NCgkJPHVpdGV4dCBuYW1lPSJTQ1JVQkJBUlNUQVRVU19QTEFZSU5HIiB2YWx1ZT0i7J6s7IOdIi8+DQoJCTx1aXRleHQgbmFtZT0iU0NSVUJCQVJTVEFUVVNfTk9BVURJTyIgdmFsdWU9IuyYpOuUlOyYpCDsl4bsnYwiLz4NCgkJPHVpdGV4dCBuYW1lPSJTQ1JVQkJBUlNUQVRVU19WSURQTEFZSU5HIiB2YWx1ZT0i67mE65SU7JikIOyerOyDnSDspJEiLz4NCgkJPHVpdGV4dCBuYW1lPSJTQ1JVQkJBUlNUQVRVU19MT0FESU5HIiB2YWx1ZT0i66Gc65SpIi8+DQoJCTx1aXRleHQgbmFtZT0iU0NSVUJCQVJTVEFUVVNfQlVGRkVSSU5HIiB2YWx1ZT0i67KE7Y2866eBIi8+DQoJCTx1aXRleHQgbmFtZT0iU0NSVUJCQVJTVEFUVVNfUVVFU1RJT04iIHZhbHVlPSLsp4jrrLjsl5Ag64u17ZWY6riwIi8+DQoJCTx1aXRleHQgbmFtZT0iU0NSVUJCQVJTVEFUVVNfUkVWSUVXUVVJWiIgdmFsdWU9IuyniOusuCDri6Tsi5zrs7TquLAiLz4NCgkJPCEtLSBzdWJzdGl0dXRpb246ICVtID09IG1pbnV0ZXMgcmVtYWluaW5nIC0tPg0KCQk8IS0tIHN1YnN0aXR1dGlvbjogJXMgPT0gc2Vjb25kcyByZW1haW5pbmcgLS0+DQoJCTx1aXRleHQgbmFtZT0iRUxBUFNFRCIgdmFsdWU9IiVt67aEICVz7LSIIOuCqOydjCIvPg0KCQk8dWl0ZXh0IG5hbWU9Ik5PVEZPVU5EIiB2YWx1ZT0i7JeG7J2MIi8+DQoJCTx1aXRleHQgbmFtZT0iQVRUQUNITUVOVFMiIHZhbHVlPSLssqjrtoAg7YyM7J28Ii8+DQoJCTwhLS0gc3Vic3RpdHV0aW9uOiAlcCA9PSBjdXJyZW50IHNwZWFrZXIncyB0aXRsZSAtLT4NCgkJPHVpdGV4dCBuYW1lPSJCSU9XSU5fVElUTEUiIHZhbHVlPSLqsr3roKUg7IaM6rCcOiAlcCIvPg0KCQk8dWl0ZXh0IG5hbWU9IkJJT0JUTl9USVRMRSIgdmFsdWU9IuqyveugpSDshozqsJwiLz4NCgkJPHVpdGV4dCBuYW1lPSJESVZJREVSQlROX1RJVExFIiB2YWx1ZT0ifCIvPg0KCQk8dWl0ZXh0IG5hbWU9IkNPTlRBQ1RCVE5fVElUTEUiIHZhbHVlPSLsl7Drnb3sspgiLz4NCgkJPHVpdGV4dCBuYW1lPSJUQUJfUVVJWiIgdmFsdWU9Iu2AtOymiCIvPg0KCQk8dWl0ZXh0IG5hbWU9IlRBQl9PVVRMSU5FIiB2YWx1ZT0i6rCc7JqUIi8+DQoJCTx1aXRleHQgbmFtZT0iVEFCX1RIVU1CIiB2YWx1ZT0i7LaV7IaM7YyQIi8+DQoJCTx1aXRleHQgbmFtZT0iVEFCX05PVEVTIiB2YWx1ZT0i64W47Yq4Ii8+DQoJCTx1aXRleHQgbmFtZT0iVEFCX1NFQVJDSCIgdmFsdWU9IuqygOyDiSIvPg0KCQk8dWl0ZXh0IG5hbWU9IlNMSURFX0hFQURJTkciIHZhbHVlPSLsiqzrnbzsnbTrk5wg7KCc66qpIi8+DQoJCTx1aXRleHQgbmFtZT0iRFVSQVRJT05fSEVBRElORyIgdmFsdWU9IuyerOyDneyLnOqwhCIvPg0KCQk8dWl0ZXh0IG5hbWU9IlNFQVJDSF9IRUFESU5HIiB2YWx1ZT0i7YWN7Iqk7Yq4IOqygOyDiToiLz4NCgkJPHVpdGV4dCBuYW1lPSJUSFVNQl9IRUFESU5HIiB2YWx1ZT0i7Iqs65287J2065OcIi8+DQoJCTx1aXRleHQgbmFtZT0iVEhVTUJfSU5GTyIgdmFsdWU9IuygnOuqqS/snqzsg53si5zqsIQiLz4NCgkJPHVpdGV4dCBuYW1lPSJBVFRBQ0hOQU1FX0hFQURJTkciIHZhbHVlPSLtjIzsnbwg7J2066aEIi8+DQoJCTx1aXRleHQgbmFtZT0iQVRUQUNIU0laRV9IRUFESU5HIiB2YWx1ZT0i7YGs6riwIi8+DQoJCTx1aXRleHQgbmFtZT0iU0xJREVfTk9URVMiIHZhbHVlPSLsiqzrnbzsnbTrk5wg64W47Yq4Ii8+DQoJCTwhLS1xdWl6IHBvZCBhbmQgbWVzc2FnZSBib3ggdGV4dHMtLT4NCgkJPHVpdGV4dCBuYW1lPSJRVUlaUE9EX1FVSVpfQVRURU1QVCIgdmFsdWU9Iu2AtOymiCDsi5zrj4Qg7Zqf7IiYOiIvPg0KCQk8dWl0ZXh0IG5hbWU9IlFVSVpQT0RfUVVJWl9BVFRFTVBUX1ZBTFVFIiB2YWx1ZT0iJW4vJXQiLz4NCgkJPHVpdGV4dCBuYW1lPSJRVUlaUE9EX1FVSVpfU0NPUkUiIHZhbHVlPSLrk53soJA6Ii8+DQoJCTx1aXRleHQgbmFtZT0iUVVJWlBPRF9RVUlaX1BBU1NTQ09SRSIgdmFsdWU9Iu2GteqzvCDsoJDsiJg6Ii8+DQoJCTx1aXRleHQgbmFtZT0iUVVJWlBPRF9RVUlaX01BWFNDT1JFIiB2YWx1ZT0i7LWc6rOgIOygkOyImDoiLz4NCgkJPHVpdGV4dCBuYW1lPSJRVUlaUE9EX1FVRVNBVE1QVF9TVFIiIHZhbHVlPSLsi5zrj4Qg7Zqf7IiYOiAlbi8ldCIvPg0KCQk8dWl0ZXh0IG5hbWU9IlFVSVpQT0RfUVVFU1RZUEVfU1RSIiB2YWx1ZT0i7Jyg7ZiVOiAlcyIvPg0KCQk8dWl0ZXh0IG5hbWU9IlFVSVpQT0RfUVVFU1RZUEVfR1JEIiB2YWx1ZT0i7KCQ7IiYIOunpOq4sOq4sCDsmYTro4wiLz4NCgkJPHVpdGV4dCBuYW1lPSJRVUlaUE9EX1FVRVNUWVBFX1NWWSIgdmFsdWU9IuyEpOusuCDsobDsgqwiLz4NCgkJPHVpdGV4dCBuYW1lPSJRVUlaUE9EX1FVSVpBVE1QVF9JTkYiIHZhbHVlPSLrrLTtlZwiLz4NCgkJPHVpdGV4dCBuYW1lPSJRVUlaUE9EX1FVRVNBVE1QVF9JTkYiIHZhbHVlPSLrrLTtlZwiLz4NCgkJPHVpdGV4dCBuYW1lPSJXQVJOSU5HTVNHX1lFU1NUUklORyIgdmFsdWU9IuyYiCIvPg0KCQk8dWl0ZXh0IG5hbWU9IldBUk5JTkdNU0dfTk9TVFJJTkciIHZhbHVlPSLslYTri4jsmKQiLz4NCgkJPHVpdGV4dCBuYW1lPSJXQVJOSU5HTVNHX1RJVExFU1RSSU5HIiB2YWx1ZT0i7YC07KaIIOuCtOu5hOqyjOydtOyFmCDqsr3qs6AiLz4NCgkJPHVpdGV4dCBuYW1lPSJXQVJOSU5HTVNHX01TR1NUUklORyIgdmFsdWU9IuydtCDtgLTspojsl5DshJwg7Iuc64+E7ZWY7KeAIOyViuydgCDsp4jrrLjsnbQg7J6I7Iq164uI64ukLiYjeEE7JiN4QTvtgLTspojrpbwg7KKF66OM7ZWY66Ck66m0IFvsmIhd66W8IO2BtOumre2VmOqzoCwg7YC07KaI66W8IOqzhOyGje2VmOugpOuptCBb7JWE64uI7JikXeulvCDtgbTrpq3tlZjsi63si5zsmKQuIi8+DQoJCTx1aXRleHQgbmFtZT0iSU5GT1JNQVRJT05fSDI2NF9GTEFTSFBMQVlFUiIgdmFsdWU9IuyLnOyKpO2FnOyXkCDshKTsuZjrkJjslrQg7J6I64qUIO2YhOyerCDrsoTsoITsnZggRmxhc2ggUGxheWVy64qUIOydtCDruYTrlJTsmKTrpbwg7KeA7JuQ7ZWY7KeAIOyViuyKteuLiOuLpC4g7LWc7IugIEZsYXNoIFBsYXllcuulvCDri6TsmrTroZzrk5ztlZjroKTrqbQg67mE65SU7JikIOyYgeyXreydhCDtgbTrpq3tlZjsi63si5zsmKQ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uywuOyXrOyekOyXkOqyjCDshLjroZwg66eJ64yAIOuztOydtOq4sCIvPg0KCQk8dWl0ZXh0IG5hbWU9Ik1VVEUiIHZhbHVlPSLsnYzshozqsbAiLz4NCgkJPHVpdGV4dCBuYW1lPSJET0NXUkFQX1RJVExFIiB2YWx1ZT0iUHJlc2VudGVyIO2MjOydvCDssqjrtoAiLz4NCgkJPHVpdGV4dCBuYW1lPSJET0NXUkFQX01TRyIgdmFsdWU9IuuCtCDsu7Ttk6jthLDsl5Ag7KCA7J6lIi8+DQoJCTx1aXRleHQgbmFtZT0iRE9DV1JBUF9QUk9NUFQiIHZhbHVlPSLtgbTrpq3tlZjsl6wg64uk7Jq066Gc65OcIi8+DQoJPC9sYW5ndWFnZT4NCgk8bGFuZ3VhZ2UgaWQ9ImVz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XBvc2l0aXZhICVuIi8+DQoJCTwhLS0gc3Vic3RpdHV0aW9uOiAlbiA9PSBzbGlkZSBudW1iZXIgLS0+DQoJCTwhLS0gc3Vic3RpdHV0aW9uOiAldCA9PSB0b3RhbCBzbGlkZSBjb3VudCAtLT4NCgkJPHVpdGV4dCBuYW1lPSJTQ1JVQkJBUlNUQVRVU19TTElERUlORk8iIHZhbHVlPSJEaWFwb3NpdGl2YSAlbiAvICV0IHwgIi8+DQoJCTx1aXRleHQgbmFtZT0iU0NSVUJCQVJTVEFUVVNfU1RPUFBFRCIgdmFsdWU9IkRldGVuaWRhIi8+DQoJCTx1aXRleHQgbmFtZT0iU0NSVUJCQVJTVEFUVVNfUExBWUlORyIgdmFsdWU9IlJlcHJvZHVjaWVuZG8iLz4NCgkJPHVpdGV4dCBuYW1lPSJTQ1JVQkJBUlNUQVRVU19OT0FVRElPIiB2YWx1ZT0iU2luIHNvbmlkbyIvPg0KCQk8dWl0ZXh0IG5hbWU9IlNDUlVCQkFSU1RBVFVTX1ZJRFBMQVlJTkciIHZhbHVlPSJWw61kZW8gZW4gcmVwcm9kLiIvPg0KCQk8dWl0ZXh0IG5hbWU9IlNDUlVCQkFSU1RBVFVTX0xPQURJTkciIHZhbHVlPSJDYXJnYW5kbyIvPg0KCQk8dWl0ZXh0IG5hbWU9IlNDUlVCQkFSU1RBVFVTX0JVRkZFUklORyIgdmFsdWU9IkFsbWFjZW5hbmRvIGVuIGLDumZlciIvPg0KCQk8dWl0ZXh0IG5hbWU9IlNDUlVCQkFSU1RBVFVTX1FVRVNUSU9OIiB2YWx1ZT0iQ29udGVzdGFyIHByZWd1bnRhIi8+DQoJCTx1aXRleHQgbmFtZT0iU0NSVUJCQVJTVEFUVVNfUkVWSUVXUVVJWiIgdmFsdWU9IlJldmlzYW5kbyBwcnVlYmEiLz4NCgkJPCEtLSBzdWJzdGl0dXRpb246ICVtID09IG1pbnV0ZXMgcmVtYWluaW5nIC0tPg0KCQk8IS0tIHN1YnN0aXR1dGlvbjogJXMgPT0gc2Vjb25kcyByZW1haW5pbmcgLS0+DQoJCTx1aXRleHQgbmFtZT0iRUxBUFNFRCIgdmFsdWU9IiVtIG1pbnV0b3MgJXMgc2VndW5kb3MgcmVzdGFudGVzIi8+DQoJCTx1aXRleHQgbmFtZT0iTk9URk9VTkQiIHZhbHVlPSJObyBzZSBoYSBlbmNvbnRyYWRvIG5hZGEiLz4NCgkJPHVpdGV4dCBuYW1lPSJBVFRBQ0hNRU5UUyIgdmFsdWU9IkFyY2hpdm9zIGFkanVudG9zIi8+DQoJCTwhLS0gc3Vic3RpdHV0aW9uOiAlcCA9PSBjdXJyZW50IHNwZWFrZXIncyB0aXRsZSAtLT4NCgkJPHVpdGV4dCBuYW1lPSJCSU9XSU5fVElUTEUiIHZhbHVlPSJCaW9ncmFmw61hOiAlcCIvPg0KCQk8dWl0ZXh0IG5hbWU9IkJJT0JUTl9USVRMRSIgdmFsdWU9IkJpb2dyYWbDrWEiLz4NCgkJPHVpdGV4dCBuYW1lPSJESVZJREVSQlROX1RJVExFIiB2YWx1ZT0ifCIvPg0KCQk8dWl0ZXh0IG5hbWU9IkNPTlRBQ1RCVE5fVElUTEUiIHZhbHVlPSJDb250YWN0byIvPg0KCQk8dWl0ZXh0IG5hbWU9IlRBQl9RVUlaIiB2YWx1ZT0iUHJ1ZWJhIi8+DQoJCTx1aXRleHQgbmFtZT0iVEFCX09VVExJTkUiIHZhbHVlPSJDb250b3JubyIvPg0KCQk8dWl0ZXh0IG5hbWU9IlRBQl9USFVNQiIgdmFsdWU9Ik1pbmlhdC4iLz4NCgkJPHVpdGV4dCBuYW1lPSJUQUJfTk9URVMiIHZhbHVlPSJOb3RhcyIvPg0KCQk8dWl0ZXh0IG5hbWU9IlRBQl9TRUFSQ0giIHZhbHVlPSJCdXNjYXIiLz4NCgkJPHVpdGV4dCBuYW1lPSJTTElERV9IRUFESU5HIiB2YWx1ZT0iVMOtdHVsbyBkZSBkaWFwb3NpdGl2YSIvPg0KCQk8dWl0ZXh0IG5hbWU9IkRVUkFUSU9OX0hFQURJTkciIHZhbHVlPSJEdXJhYy4iLz4NCgkJPHVpdGV4dCBuYW1lPSJTRUFSQ0hfSEVBRElORyIgdmFsdWU9IkJ1c2NhciB0ZXh0bzoiLz4NCgkJPHVpdGV4dCBuYW1lPSJUSFVNQl9IRUFESU5HIiB2YWx1ZT0iRGlhcG9zaXRpdmEiLz4NCgkJPHVpdGV4dCBuYW1lPSJUSFVNQl9JTkZPIiB2YWx1ZT0iRHVyLi9Uw610LiBkaWFwLiIvPg0KCQk8dWl0ZXh0IG5hbWU9IkFUVEFDSE5BTUVfSEVBRElORyIgdmFsdWU9Ik5vbWJyZSBkZSBhcmNoaXZvIi8+DQoJCTx1aXRleHQgbmFtZT0iQVRUQUNIU0laRV9IRUFESU5HIiB2YWx1ZT0iVGFtYcOxbyIvPg0KCQk8dWl0ZXh0IG5hbWU9IlNMSURFX05PVEVTIiB2YWx1ZT0iTm90YXMgZGUgZGlhcG9zaXRpdmEiLz4NCgkJPCEtLXF1aXogcG9kIGFuZCBtZXNzYWdlIGJveCB0ZXh0cy0tPg0KCQk8dWl0ZXh0IG5hbWU9IlFVSVpQT0RfUVVJWl9BVFRFTVBUIiB2YWx1ZT0iSW50ZW50byBkZSBwcnVlYmE6Ii8+DQoJCTx1aXRleHQgbmFtZT0iUVVJWlBPRF9RVUlaX0FUVEVNUFRfVkFMVUUiIHZhbHVlPSIlbiBkZSAldCIvPg0KCQk8dWl0ZXh0IG5hbWU9IlFVSVpQT0RfUVVJWl9TQ09SRSIgdmFsdWU9IlB1bnR1YWNpw7NuOiIvPg0KCQk8dWl0ZXh0IG5hbWU9IlFVSVpQT0RfUVVJWl9QQVNTU0NPUkUiIHZhbHVlPSJQdW50dWFjacOzbiBwYXJhIGFwcm9iYXI6Ii8+DQoJCTx1aXRleHQgbmFtZT0iUVVJWlBPRF9RVUlaX01BWFNDT1JFIiB2YWx1ZT0iUHVudHVhY2nDs24gbcOheGltYToiLz4NCgkJPHVpdGV4dCBuYW1lPSJRVUlaUE9EX1FVRVNBVE1QVF9TVFIiIHZhbHVlPSJJbnRlbnRvczogJW4gZGUgJXQiLz4NCgkJPHVpdGV4dCBuYW1lPSJRVUlaUE9EX1FVRVNUWVBFX1NUUiIgdmFsdWU9IlRpcG86ICVzIi8+DQoJCTx1aXRleHQgbmFtZT0iUVVJWlBPRF9RVUVTVFlQRV9HUkQiIHZhbHVlPSJDb24gcHVudHVhY2nDs24iLz4NCgkJPHVpdGV4dCBuYW1lPSJRVUlaUE9EX1FVRVNUWVBFX1NWWSIgdmFsdWU9IkVuY3Vlc3RhIi8+DQoJCTx1aXRleHQgbmFtZT0iUVVJWlBPRF9RVUlaQVRNUFRfSU5GIiB2YWx1ZT0iSW5maW5pdG8iLz4NCgkJPHVpdGV4dCBuYW1lPSJRVUlaUE9EX1FVRVNBVE1QVF9JTkYiIHZhbHVlPSJJbmZpbml0byIvPg0KCQk8dWl0ZXh0IG5hbWU9IldBUk5JTkdNU0dfWUVTU1RSSU5HIiB2YWx1ZT0iU8OtIi8+DQoJCTx1aXRleHQgbmFtZT0iV0FSTklOR01TR19OT1NUUklORyIgdmFsdWU9Ik5vIi8+DQoJCTx1aXRleHQgbmFtZT0iV0FSTklOR01TR19USVRMRVNUUklORyIgdmFsdWU9IkF2aXNvIGRlIG5hdmVnYWNpw7NuIGRlIHBydWViYSIvPg0KCQk8dWl0ZXh0IG5hbWU9IldBUk5JTkdNU0dfTVNHU1RSSU5HIiB2YWx1ZT0iSGF5IHByZWd1bnRhcyBzaW4gaW50ZW50b3MgZW4gZXN0YSBwcnVlYmEuJiN4QTsmI3hBO1BhcmEgc2FsaXIgZGUgbGEgcHJ1ZWJhLCBoYWdhIGNsaWMgZW4gU8OtLiBQYXJhIGNvbnRpbnVhciwgaGFnYSBjbGljIGVuIE5vLiIvPg0KCQk8dWl0ZXh0IG5hbWU9IklORk9STUFUSU9OX0gyNjRfRkxBU0hQTEFZRVIiIHZhbHVlPSJMYSB2ZXJzacOzbiBhY3R1YWwgZGUgRmxhc2ggUGxheWVyIGluc3RhbGFkYSBlbiBlbCBvcmRlbmFkb3Igbm8gZXMgY29tcGF0aWJsZSBjb24gZXN0ZSB2w61kZW8uIEhhZ2EgY2xpYyBlbiBlbCDDoXJlYSBkZSB2w61kZW8gcGFyYSBkZXNjYXJnYXIgbGEgw7psdGltYSB2ZXJzacOzbiBkZSBGbGFzaCBQbGF5ZXIuIi8+DQoJCTwhLS0gc3Vic3RpdHV0aW9uOiAlcCA9PSBwcmVzZW50YXRpb24gdGl0bGUgLS0+DQoJCTwhLS0gc3Vic3RpdHV0aW9uOiAlcyA9PSBzbGlkZSB0aXRsZSAtLT4NCgkJPCEtLSBzdWJzdGl0dXRpb246ICVuID09IHNsaWRlIG51bWJlciAtLT4NCgkJPHVpdGV4dCBuYW1lPSJCT09LTUFSSyIgdmFsdWU9IkFkb2JlIFByZXNlbnRlcjogJXAiLz4NCgkJPCEtLSBzdWJzdGl0dXRpb246ICVwID09IHByZXNlbnRhdGlvbiB0aXRsZSAtLT4NCgkJPCEtLSBzdWJzdGl0dXRpb246ICVzID09IHNsaWRlIHRpdGxlIC0tPg0KCQk8IS0tIHN1YnN0aXR1dGlvbjogJW4gPT0gc2xpZGUgbnVtYmVyIC0tPg0KCQk8dWl0ZXh0IG5hbWU9IkJPT0tNQVJLU0xJREUiIHZhbHVlPSJBZG9iZSBQcmVzZW50ZXI6ICVwICVzIi8+DQoJCTx1aXRleHQgbmFtZT0iU0hPV1NJREVCQVIiIHZhbHVlPSJNb3N0cmFyIGJhcnJhIGxhdGVyYWwgYSBsb3MgcGFydGljaXBhbnRlcyIvPg0KCQk8dWl0ZXh0IG5hbWU9Ik1VVEUiIHZhbHVlPSJTaWxlbmNpYXIiLz4NCgkJPHVpdGV4dCBuYW1lPSJET0NXUkFQX1RJVExFIiB2YWx1ZT0iQXJjaGl2byBhZGp1bnRvIGRlIFByZXNlbnRlciIvPg0KCQk8dWl0ZXh0IG5hbWU9IkRPQ1dSQVBfTVNHIiB2YWx1ZT0iR3VhcmRhciBlbiBNaSBQQyIvPg0KCQk8dWl0ZXh0IG5hbWU9IkRPQ1dSQVBfUFJPTVBUIiB2YWx1ZT0iSGFnYSBjbGljIGVuIERlc2NhcmdhciIvPg0KCTwvbGFuZ3VhZ2U+DQoJPGxhbmd1YWdlIGlkPSJwdC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TbGlkZSAlbiIvPg0KCQk8IS0tIHN1YnN0aXR1dGlvbjogJW4gPT0gc2xpZGUgbnVtYmVyIC0tPg0KCQk8IS0tIHN1YnN0aXR1dGlvbjogJXQgPT0gdG90YWwgc2xpZGUgY291bnQgLS0+DQoJCTx1aXRleHQgbmFtZT0iU0NSVUJCQVJTVEFUVVNfU0xJREVJTkZPIiB2YWx1ZT0iU2xpZGUgJW4gLyAldCB8ICIvPg0KCQk8dWl0ZXh0IG5hbWU9IlNDUlVCQkFSU1RBVFVTX1NUT1BQRUQiIHZhbHVlPSJQYXJhZG8iLz4NCgkJPHVpdGV4dCBuYW1lPSJTQ1JVQkJBUlNUQVRVU19QTEFZSU5HIiB2YWx1ZT0iUmVwcm9kdXppbmRvIi8+DQoJCTx1aXRleHQgbmFtZT0iU0NSVUJCQVJTVEFUVVNfTk9BVURJTyIgdmFsdWU9IlNlbSDDoXVkaW8iLz4NCgkJPHVpdGV4dCBuYW1lPSJTQ1JVQkJBUlNUQVRVU19WSURQTEFZSU5HIiB2YWx1ZT0iVsOtZGVvIGVtIHJlcHJvZHXDp8OjbyIvPg0KCQk8dWl0ZXh0IG5hbWU9IlNDUlVCQkFSU1RBVFVTX0xPQURJTkciIHZhbHVlPSJDYXJyZWdhbmRvIi8+DQoJCTx1aXRleHQgbmFtZT0iU0NSVUJCQVJTVEFUVVNfQlVGRkVSSU5HIiB2YWx1ZT0iQXJtYXplbmFuZG8gZW0gYnVmZmVyIi8+DQoJCTx1aXRleHQgbmFtZT0iU0NSVUJCQVJTVEFUVVNfUVVFU1RJT04iIHZhbHVlPSJSZXNwb25kZXIgcGVyZ3VudGEiLz4NCgkJPHVpdGV4dCBuYW1lPSJTQ1JVQkJBUlNUQVRVU19SRVZJRVdRVUlaIiB2YWx1ZT0iUmV2aXNhbmRvIHF1ZXN0aW9uw6FyaW8iLz4NCgkJPCEtLSBzdWJzdGl0dXRpb246ICVtID09IG1pbnV0ZXMgcmVtYWluaW5nIC0tPg0KCQk8IS0tIHN1YnN0aXR1dGlvbjogJXMgPT0gc2Vjb25kcyByZW1haW5pbmcgLS0+DQoJCTx1aXRleHQgbmFtZT0iRUxBUFNFRCIgdmFsdWU9IiVtIG1pbnV0b3MgJXMgc2VndW5kb3MgcmVzdGFudGVzIi8+DQoJCTx1aXRleHQgbmFtZT0iTk9URk9VTkQiIHZhbHVlPSJOYWRhIGVuY29udHJhZG8iLz4NCgkJPHVpdGV4dCBuYW1lPSJBVFRBQ0hNRU5UUyIgdmFsdWU9IkFuZXhvcy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kNvbnRhdG8iLz4NCgkJPHVpdGV4dCBuYW1lPSJUQUJfUVVJWiIgdmFsdWU9IlF1ZXN0LiIvPg0KCQk8dWl0ZXh0IG5hbWU9IlRBQl9PVVRMSU5FIiB2YWx1ZT0iRXNxdWVtYSIvPg0KCQk8dWl0ZXh0IG5hbWU9IlRBQl9USFVNQiIgdmFsdWU9Ik1pbmkiLz4NCgkJPHVpdGV4dCBuYW1lPSJUQUJfTk9URVMiIHZhbHVlPSJOb3RhcyIvPg0KCQk8dWl0ZXh0IG5hbWU9IlRBQl9TRUFSQ0giIHZhbHVlPSJCdXNjYSIvPg0KCQk8dWl0ZXh0IG5hbWU9IlNMSURFX0hFQURJTkciIHZhbHVlPSJUw610dWxvIGRvIHNsaWRlIi8+DQoJCTx1aXRleHQgbmFtZT0iRFVSQVRJT05fSEVBRElORyIgdmFsdWU9IkR1cmHDp8OjbyIvPg0KCQk8dWl0ZXh0IG5hbWU9IlNFQVJDSF9IRUFESU5HIiB2YWx1ZT0iUHJvY3VyYXIgdGV4dG86Ii8+DQoJCTx1aXRleHQgbmFtZT0iVEhVTUJfSEVBRElORyIgdmFsdWU9IlNsaWRlIi8+DQoJCTx1aXRleHQgbmFtZT0iVEhVTUJfSU5GTyIgdmFsdWU9IlTDrXR1bG8vRHVyYcOnw6NvIGRvIHNsaWRlIi8+DQoJCTx1aXRleHQgbmFtZT0iQVRUQUNITkFNRV9IRUFESU5HIiB2YWx1ZT0iTm9tZSBkbyBhcnF1aXZvIi8+DQoJCTx1aXRleHQgbmFtZT0iQVRUQUNIU0laRV9IRUFESU5HIiB2YWx1ZT0iVGFtYW5obyIvPg0KCQk8dWl0ZXh0IG5hbWU9IlNMSURFX05PVEVTIiB2YWx1ZT0iQW5vdGHDp8O1ZXMgZG8gc2xpZGUiLz4NCgkJPCEtLXF1aXogcG9kIGFuZCBtZXNzYWdlIGJveCB0ZXh0cy0tPg0KCQk8dWl0ZXh0IG5hbWU9IlFVSVpQT0RfUVVJWl9BVFRFTVBUIiB2YWx1ZT0iVGVudGF0aXZhIG5vIHF1ZXN0aW9uw6FyaW86Ii8+DQoJCTx1aXRleHQgbmFtZT0iUVVJWlBPRF9RVUlaX0FUVEVNUFRfVkFMVUUiIHZhbHVlPSIlbiBkZSAldCIvPg0KCQk8dWl0ZXh0IG5hbWU9IlFVSVpQT0RfUVVJWl9TQ09SRSIgdmFsdWU9IlBvbnR1YcOnw6NvOiIvPg0KCQk8dWl0ZXh0IG5hbWU9IlFVSVpQT0RfUVVJWl9QQVNTU0NPUkUiIHZhbHVlPSJQb250dWHDp8OjbyBkZSBhcHJvdmHDp8OjbzoiLz4NCgkJPHVpdGV4dCBuYW1lPSJRVUlaUE9EX1FVSVpfTUFYU0NPUkUiIHZhbHVlPSJQb250dWHDp8OjbyBtw6F4aW1hOiIvPg0KCQk8dWl0ZXh0IG5hbWU9IlFVSVpQT0RfUVVFU0FUTVBUX1NUUiIgdmFsdWU9IlRlbnRhdGl2YTogJW4gZGUgJXQiLz4NCgkJPHVpdGV4dCBuYW1lPSJRVUlaUE9EX1FVRVNUWVBFX1NUUiIgdmFsdWU9IlRpcG86ICVzIi8+DQoJCTx1aXRleHQgbmFtZT0iUVVJWlBPRF9RVUVTVFlQRV9HUkQiIHZhbHVlPSJDbGFzc2lmaWNhdMOzcmlhIi8+DQoJCTx1aXRleHQgbmFtZT0iUVVJWlBPRF9RVUVTVFlQRV9TVlkiIHZhbHVlPSJQZXNxdWlzYSIvPg0KCQk8dWl0ZXh0IG5hbWU9IlFVSVpQT0RfUVVJWkFUTVBUX0lORiIgdmFsdWU9IkluZmluaXRvIi8+DQoJCTx1aXRleHQgbmFtZT0iUVVJWlBPRF9RVUVTQVRNUFRfSU5GIiB2YWx1ZT0iSW5maW5pdG8iLz4NCgkJPHVpdGV4dCBuYW1lPSJXQVJOSU5HTVNHX1lFU1NUUklORyIgdmFsdWU9IlNpbSIvPg0KCQk8dWl0ZXh0IG5hbWU9IldBUk5JTkdNU0dfTk9TVFJJTkciIHZhbHVlPSJOw6NvIi8+DQoJCTx1aXRleHQgbmFtZT0iV0FSTklOR01TR19USVRMRVNUUklORyIgdmFsdWU9IkFsZXJ0YSBkZSBuYXZlZ2HDp8OjbyBkbyBxdWVzdGlvbsOhcmlvIi8+DQoJCTx1aXRleHQgbmFtZT0iV0FSTklOR01TR19NU0dTVFJJTkciIHZhbHVlPSJFeGlzdGVtIHBlcmd1bnRhcyBxdWUgbsOjbyBmb3JhbSByZXNwb25kaWRhcyBuZXN0ZSBxdWVzdGlvbsOhcmlvLiYjeEE7JiN4QTtDbGlxdWUgZW0gU2ltIHBhcmEgc2FpciBkbyBxdWVzdGlvbsOhcmlvIG91IGVtIE7Do28gc2UgcXVpc2VyIGNvbnRpbnVhci4iLz4NCgkJPHVpdGV4dCBuYW1lPSJJTkZPUk1BVElPTl9IMjY0X0ZMQVNIUExBWUVSIiB2YWx1ZT0iQSB2ZXJzw6NvIGF0dWFsIGRvIEZsYXNoIFBsYXllciBpbnN0YWxhZGEgbm8gY29tcHV0YWRvciBuw6NvIG9mZXJlY2Ugc3Vwb3J0ZSBhIGVzc2UgdsOtZGVvLiBDbGlxdWUgbmEgw6FyZWEgZG8gdsOtZGVvIHBhcmEgYmFpeGFyIGEgdmVyc8OjbyBtYWlzIHJlY2VudGUgZG8gRmxhc2ggUGxheWVy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Nb3N0cmFyIGJhcnJhIGxhdGVyYWwgYW8gcGFydGljaXBhbnRlcyIvPg0KCQk8dWl0ZXh0IG5hbWU9Ik1VVEUiIHZhbHVlPSJNdWRvIi8+DQoJCTx1aXRleHQgbmFtZT0iRE9DV1JBUF9USVRMRSIgdmFsdWU9IkFuZXhvIGRlIGFycXVpdm8gZG8gUHJlc2VudGVyIi8+DQoJCTx1aXRleHQgbmFtZT0iRE9DV1JBUF9NU0ciIHZhbHVlPSJTYWx2YXIgZW0gTWV1IGNvbXB1dGFkb3IiLz4NCgkJPHVpdGV4dCBuYW1lPSJET0NXUkFQX1BST01QVCIgdmFsdWU9IkNsaXF1ZSBwYXJhIGJhaXhhciIvPg0KCTwvbGFuZ3VhZ2U+DQoJPGxhbmd1YWdlIGlkPSJpdC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EaWFwb3NpdGl2YSAlbiIvPg0KCQk8IS0tIHN1YnN0aXR1dGlvbjogJW4gPT0gc2xpZGUgbnVtYmVyIC0tPg0KCQk8IS0tIHN1YnN0aXR1dGlvbjogJXQgPT0gdG90YWwgc2xpZGUgY291bnQgLS0+DQoJCTx1aXRleHQgbmFtZT0iU0NSVUJCQVJTVEFUVVNfU0xJREVJTkZPIiB2YWx1ZT0iRGlhcG9zaXRpdmEgJW4gLyAldCB8ICIvPg0KCQk8dWl0ZXh0IG5hbWU9IlNDUlVCQkFSU1RBVFVTX1NUT1BQRUQiIHZhbHVlPSJJbnRlcnJvdHRvIi8+DQoJCTx1aXRleHQgbmFtZT0iU0NSVUJCQVJTVEFUVVNfUExBWUlORyIgdmFsdWU9IlJpcHJvZHV6aW9uZSIvPg0KCQk8dWl0ZXh0IG5hbWU9IlNDUlVCQkFSU1RBVFVTX05PQVVESU8iIHZhbHVlPSJBdWRpbyBpbmF0dC4iLz4NCgkJPHVpdGV4dCBuYW1lPSJTQ1JVQkJBUlNUQVRVU19WSURQTEFZSU5HIiB2YWx1ZT0iVmlkZW8gaW4gcmlwcm9kdXppb25lIi8+DQoJCTx1aXRleHQgbmFtZT0iU0NSVUJCQVJTVEFUVVNfTE9BRElORyIgdmFsdWU9IkNhcmljYW1lbnRvIi8+DQoJCTx1aXRleHQgbmFtZT0iU0NSVUJCQVJTVEFUVVNfQlVGRkVSSU5HIiB2YWx1ZT0iQnVmZmVyaW5nIi8+DQoJCTx1aXRleHQgbmFtZT0iU0NSVUJCQVJTVEFUVVNfUVVFU1RJT04iIHZhbHVlPSJSaXNwb25kaSBhIGRvbWFuZGEiLz4NCgkJPHVpdGV4dCBuYW1lPSJTQ1JVQkJBUlNUQVRVU19SRVZJRVdRVUlaIiB2YWx1ZT0iUmV2aXNpb25lIGRlbCBxdWl6Ii8+DQoJCTwhLS0gc3Vic3RpdHV0aW9uOiAlbSA9PSBtaW51dGVzIHJlbWFpbmluZyAtLT4NCgkJPCEtLSBzdWJzdGl0dXRpb246ICVzID09IHNlY29uZHMgcmVtYWluaW5nIC0tPg0KCQk8dWl0ZXh0IG5hbWU9IkVMQVBTRUQiIHZhbHVlPSIlbSBNaW51dGkgJXMgU2Vjb25kaSByaW1hbmVudGkiLz4NCgkJPHVpdGV4dCBuYW1lPSJOT1RGT1VORCIgdmFsdWU9Ik5lc3N1biBlbGVtZW50byB0cm92YXRvIi8+DQoJCTx1aXRleHQgbmFtZT0iQVRUQUNITUVOVFMiIHZhbHVlPSJBbGxlZ2F0aS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kNvbnQuIi8+DQoJCTx1aXRleHQgbmFtZT0iVEFCX1FVSVoiIHZhbHVlPSJRdWl6Ii8+DQoJCTx1aXRleHQgbmFtZT0iVEFCX09VVExJTkUiIHZhbHVlPSJTdHJ1dHR1cmEiLz4NCgkJPHVpdGV4dCBuYW1lPSJUQUJfVEhVTUIiIHZhbHVlPSJNaW5pYXR1cmUiLz4NCgkJPHVpdGV4dCBuYW1lPSJUQUJfTk9URVMiIHZhbHVlPSJOb3RlIi8+DQoJCTx1aXRleHQgbmFtZT0iVEFCX1NFQVJDSCIgdmFsdWU9IkNlcmNhIi8+DQoJCTx1aXRleHQgbmFtZT0iU0xJREVfSEVBRElORyIgdmFsdWU9IlRpdG9sbyBkaWFwb3NpdGl2YSIvPg0KCQk8dWl0ZXh0IG5hbWU9IkRVUkFUSU9OX0hFQURJTkciIHZhbHVlPSJEdXJhdGEiLz4NCgkJPHVpdGV4dCBuYW1lPSJTRUFSQ0hfSEVBRElORyIgdmFsdWU9IkNlcmNhIHRlc3RvOiIvPg0KCQk8dWl0ZXh0IG5hbWU9IlRIVU1CX0hFQURJTkciIHZhbHVlPSJEaWFwb3NpdGl2YSIvPg0KCQk8dWl0ZXh0IG5hbWU9IlRIVU1CX0lORk8iIHZhbHVlPSJUaXRvbG8vVGVtcG8iLz4NCgkJPHVpdGV4dCBuYW1lPSJBVFRBQ0hOQU1FX0hFQURJTkciIHZhbHVlPSJOb21lIGZpbGUiLz4NCgkJPHVpdGV4dCBuYW1lPSJBVFRBQ0hTSVpFX0hFQURJTkciIHZhbHVlPSJEaW1lbnNpb25lIi8+DQoJCTx1aXRleHQgbmFtZT0iU0xJREVfTk9URVMiIHZhbHVlPSJOb3RlIGRpYXBvc2l0aXZhIi8+DQoJCTwhLS1xdWl6IHBvZCBhbmQgbWVzc2FnZSBib3ggdGV4dHMtLT4NCgkJPHVpdGV4dCBuYW1lPSJRVUlaUE9EX1FVSVpfQVRURU1QVCIgdmFsdWU9IlRlbnRhdGl2byBxdWl6OiIvPg0KCQk8dWl0ZXh0IG5hbWU9IlFVSVpQT0RfUVVJWl9BVFRFTVBUX1ZBTFVFIiB2YWx1ZT0iJW4gZGkgJXQiLz4NCgkJPHVpdGV4dCBuYW1lPSJRVUlaUE9EX1FVSVpfU0NPUkUiIHZhbHVlPSJQdW50ZWdnaW86Ii8+DQoJCTx1aXRleHQgbmFtZT0iUVVJWlBPRF9RVUlaX1BBU1NTQ09SRSIgdmFsdWU9IlB1bnRlZ2dpbyBtaW5pbW86Ii8+DQoJCTx1aXRleHQgbmFtZT0iUVVJWlBPRF9RVUlaX01BWFNDT1JFIiB2YWx1ZT0iUHVudGVnZ2lvIG1hc3NpbW86Ii8+DQoJCTx1aXRleHQgbmFtZT0iUVVJWlBPRF9RVUVTQVRNUFRfU1RSIiB2YWx1ZT0iVGVudGF0aXZvOiAlbiBkaSAldCIvPg0KCQk8dWl0ZXh0IG5hbWU9IlFVSVpQT0RfUVVFU1RZUEVfU1RSIiB2YWx1ZT0iVGlwbzogJXMiLz4NCgkJPHVpdGV4dCBuYW1lPSJRVUlaUE9EX1FVRVNUWVBFX0dSRCIgdmFsdWU9IkNvbiB2YWx1dGF6aW9uZSIvPg0KCQk8dWl0ZXh0IG5hbWU9IlFVSVpQT0RfUVVFU1RZUEVfU1ZZIiB2YWx1ZT0iSW5kYWdpbmUiLz4NCgkJPHVpdGV4dCBuYW1lPSJRVUlaUE9EX1FVSVpBVE1QVF9JTkYiIHZhbHVlPSJJbmZpbml0aSIvPg0KCQk8dWl0ZXh0IG5hbWU9IlFVSVpQT0RfUVVFU0FUTVBUX0lORiIgdmFsdWU9IkluZmluaXRpIi8+DQoJCTx1aXRleHQgbmFtZT0iV0FSTklOR01TR19ZRVNTVFJJTkciIHZhbHVlPSJTw6wiLz4NCgkJPHVpdGV4dCBuYW1lPSJXQVJOSU5HTVNHX05PU1RSSU5HIiB2YWx1ZT0iTm8iLz4NCgkJPHVpdGV4dCBuYW1lPSJXQVJOSU5HTVNHX1RJVExFU1RSSU5HIiB2YWx1ZT0iQXZ2ZXJ0ZW56YSBuYXZpZ2F6aW9uZSBxdWl6Ii8+DQoJCTx1aXRleHQgbmFtZT0iV0FSTklOR01TR19NU0dTVFJJTkciIHZhbHVlPSJPY2NvcnJlIGFuY29yYSByaXNwb25kZXJlIGFkIGFsY3VuZSBkb21hbmRlIGRlbCBxdWl6LiYjeEE7JiN4QTtTZSBmYXRlIGNsaWMgc3UgU8OsLCB1c2NpcmV0ZSBkYWwgcXVpei4gRmF0ZSBjbGljIHN1IE5vIHBlciBjb250aW51YXJlIGlsIHF1aXouIi8+DQoJCTx1aXRleHQgbmFtZT0iSU5GT1JNQVRJT05fSDI2NF9GTEFTSFBMQVlFUiIgdmFsdWU9IkxhIHZlcnNpb25lIGRpIEZsYXNoIFBsYXllciBhdHR1YWxtZW50ZSBpbnN0YWxsYXRhIG5vbiBzdXBwb3J0YSBxdWVzdG8gdmlkZW8uIEZhdGUgY2xpYyBzdWxsJ2FyZWEgZGVsIHZpZGVvIHBlciBzY2FyaWNhcmUgbCd1bHRpbWEgdmVyc2lvbmUgZGkgRmxhc2ggUGxheWVy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Nb3N0cmEgYmFycmEgbGF0ZXJhbGUgYWkgcGFydGVjaXBhbnRpIi8+DQoJCTx1aXRleHQgbmFtZT0iTVVURSIgdmFsdWU9IkRpc2F0dGl2YSBhdWRpbyIvPg0KCQk8dWl0ZXh0IG5hbWU9IkRPQ1dSQVBfVElUTEUiIHZhbHVlPSJBbGxlZ2F0byBmaWxlIFByZXNlbnRlciIvPg0KCQk8dWl0ZXh0IG5hbWU9IkRPQ1dSQVBfTVNHIiB2YWx1ZT0iU2FsdmEgaW4gUmlzb3JzZSBkZWwgY29tcHV0ZXIiLz4NCgkJPHVpdGV4dCBuYW1lPSJET0NXUkFQX1BST01QVCIgdmFsdWU9IkNsaWMgcGVyIHNjYXJpY2FyZSIvPg0KCTwvbGFuZ3VhZ2U+DQoJPGxhbmd1YWdlIGlkPSJubC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EaWEgJW4iLz4NCgkJPCEtLSBzdWJzdGl0dXRpb246ICVuID09IHNsaWRlIG51bWJlciAtLT4NCgkJPCEtLSBzdWJzdGl0dXRpb246ICV0ID09IHRvdGFsIHNsaWRlIGNvdW50IC0tPg0KCQk8dWl0ZXh0IG5hbWU9IlNDUlVCQkFSU1RBVFVTX1NMSURFSU5GTyIgdmFsdWU9IkRpYSAlbiAvICV0IHwgIi8+DQoJCTx1aXRleHQgbmFtZT0iU0NSVUJCQVJTVEFUVVNfU1RPUFBFRCIgdmFsdWU9Ikdlc3RvcHQiLz4NCgkJPHVpdGV4dCBuYW1lPSJTQ1JVQkJBUlNUQVRVU19QTEFZSU5HIiB2YWx1ZT0iQWZzcGVsZW4iLz4NCgkJPHVpdGV4dCBuYW1lPSJTQ1JVQkJBUlNUQVRVU19OT0FVRElPIiB2YWx1ZT0iR2VlbiBhdWRpbyIvPg0KCQk8dWl0ZXh0IG5hbWU9IlNDUlVCQkFSU1RBVFVTX1ZJRFBMQVlJTkciIHZhbHVlPSJWaWRlbyBhZnNwZWxlbiIvPg0KCQk8dWl0ZXh0IG5hbWU9IlNDUlVCQkFSU1RBVFVTX0xPQURJTkciIHZhbHVlPSJMYWRlbiIvPg0KCQk8dWl0ZXh0IG5hbWU9IlNDUlVCQkFSU1RBVFVTX0JVRkZFUklORyIgdmFsdWU9IkJ1ZmZlcmVuIi8+DQoJCTx1aXRleHQgbmFtZT0iU0NSVUJCQVJTVEFUVVNfUVVFU1RJT04iIHZhbHVlPSJWcmFhZyBtZXQgYW50d29vcmQiLz4NCgkJPHVpdGV4dCBuYW1lPSJTQ1JVQkJBUlNUQVRVU19SRVZJRVdRVUlaIiB2YWx1ZT0iUXVpeiBjb250cm9sZXJlbiIvPg0KCQk8IS0tIHN1YnN0aXR1dGlvbjogJW0gPT0gbWludXRlcyByZW1haW5pbmcgLS0+DQoJCTwhLS0gc3Vic3RpdHV0aW9uOiAlcyA9PSBzZWNvbmRzIHJlbWFpbmluZyAtLT4NCgkJPHVpdGV4dCBuYW1lPSJFTEFQU0VEIiB2YWx1ZT0iRXIgcmVzdGVyZW4gJW0gbWludXRlbiAlcyBzZWNvbmRlbiIvPg0KCQk8dWl0ZXh0IG5hbWU9Ik5PVEZPVU5EIiB2YWx1ZT0iTmlldHMgZ2V2b25kZW4iLz4NCgkJPHVpdGV4dCBuYW1lPSJBVFRBQ0hNRU5UUyIgdmFsdWU9IkJpamxhZ2VuIi8+DQoJCTwhLS0gc3Vic3RpdHV0aW9uOiAlcCA9PSBjdXJyZW50IHNwZWFrZXIncyB0aXRsZSAtLT4NCgkJPHVpdGV4dCBuYW1lPSJCSU9XSU5fVElUTEUiIHZhbHVlPSJCaW9ncmFmaWU6ICVwIi8+DQoJCTx1aXRleHQgbmFtZT0iQklPQlROX1RJVExFIiB2YWx1ZT0iQmlvZ3JhZmllIi8+DQoJCTx1aXRleHQgbmFtZT0iRElWSURFUkJUTl9USVRMRSIgdmFsdWU9InwiLz4NCgkJPHVpdGV4dCBuYW1lPSJDT05UQUNUQlROX1RJVExFIiB2YWx1ZT0iQ29udGFjdCIvPg0KCQk8dWl0ZXh0IG5hbWU9IlRBQl9RVUlaIiB2YWx1ZT0iUXVpeiIvPg0KCQk8dWl0ZXh0IG5hbWU9IlRBQl9PVVRMSU5FIiB2YWx1ZT0iT3ZlcnppY2h0Ii8+DQoJCTx1aXRleHQgbmFtZT0iVEFCX1RIVU1CIiB2YWx1ZT0iTWluaWF0dXVyIi8+DQoJCTx1aXRleHQgbmFtZT0iVEFCX05PVEVTIiB2YWx1ZT0iTm90aXRpZXMiLz4NCgkJPHVpdGV4dCBuYW1lPSJUQUJfU0VBUkNIIiB2YWx1ZT0iWm9la2VuIi8+DQoJCTx1aXRleHQgbmFtZT0iU0xJREVfSEVBRElORyIgdmFsdWU9IlRpdGVsIHZhbiBkaWEiLz4NCgkJPHVpdGV4dCBuYW1lPSJEVVJBVElPTl9IRUFESU5HIiB2YWx1ZT0iRHV1ciIvPg0KCQk8dWl0ZXh0IG5hbWU9IlNFQVJDSF9IRUFESU5HIiB2YWx1ZT0iWm9la2VuIG5hYXIgdGVrc3Q6Ii8+DQoJCTx1aXRleHQgbmFtZT0iVEhVTUJfSEVBRElORyIgdmFsdWU9IkRpYSIvPg0KCQk8dWl0ZXh0IG5hbWU9IlRIVU1CX0lORk8iIHZhbHVlPSJUaXRlbC9kdXVyIHZhbiBkaWEiLz4NCgkJPHVpdGV4dCBuYW1lPSJBVFRBQ0hOQU1FX0hFQURJTkciIHZhbHVlPSJCZXN0YW5kc25hYW0iLz4NCgkJPHVpdGV4dCBuYW1lPSJBVFRBQ0hTSVpFX0hFQURJTkciIHZhbHVlPSJHcm9vdHRlIi8+DQoJCTx1aXRleHQgbmFtZT0iU0xJREVfTk9URVMiIHZhbHVlPSJEaWFub3RpdGllcyIvPg0KCQk8IS0tcXVpeiBwb2QgYW5kIG1lc3NhZ2UgYm94IHRleHRzLS0+DQoJCTx1aXRleHQgbmFtZT0iUVVJWlBPRF9RVUlaX0FUVEVNUFQiIHZhbHVlPSJRdWl6cG9naW5nOiIvPg0KCQk8dWl0ZXh0IG5hbWU9IlFVSVpQT0RfUVVJWl9BVFRFTVBUX1ZBTFVFIiB2YWx1ZT0iJW4gdmFuICV0Ii8+DQoJCTx1aXRleHQgbmFtZT0iUVVJWlBPRF9RVUlaX1NDT1JFIiB2YWx1ZT0iQmVoYWFsZGUgc2NvcmU6Ii8+DQoJCTx1aXRleHQgbmFtZT0iUVVJWlBPRF9RVUlaX1BBU1NTQ09SRSIgdmFsdWU9IlZvbGRvZW5kZSBzY29yZToiLz4NCgkJPHVpdGV4dCBuYW1lPSJRVUlaUE9EX1FVSVpfTUFYU0NPUkUiIHZhbHVlPSJNYXhpbWFhbCBoYWFsYmFyZSBzY29yZToiLz4NCgkJPHVpdGV4dCBuYW1lPSJRVUlaUE9EX1FVRVNBVE1QVF9TVFIiIHZhbHVlPSJQb2dpbmc6ICVuIHZhbiAldCIvPg0KCQk8dWl0ZXh0IG5hbWU9IlFVSVpQT0RfUVVFU1RZUEVfU1RSIiB2YWx1ZT0iVHlwZTogJXMiLz4NCgkJPHVpdGV4dCBuYW1lPSJRVUlaUE9EX1FVRVNUWVBFX0dSRCIgdmFsdWU9IlRlbHQgdm9vciBzY29yZSIvPg0KCQk8dWl0ZXh0IG5hbWU9IlFVSVpQT0RfUVVFU1RZUEVfU1ZZIiB2YWx1ZT0iRW5xdcOqdGUiLz4NCgkJPHVpdGV4dCBuYW1lPSJRVUlaUE9EX1FVSVpBVE1QVF9JTkYiIHZhbHVlPSJPbmJlcGVya3QiLz4NCgkJPHVpdGV4dCBuYW1lPSJRVUlaUE9EX1FVRVNBVE1QVF9JTkYiIHZhbHVlPSJPbmJlcGVya3QiLz4NCgkJPHVpdGV4dCBuYW1lPSJXQVJOSU5HTVNHX1lFU1NUUklORyIgdmFsdWU9IkphIi8+DQoJCTx1aXRleHQgbmFtZT0iV0FSTklOR01TR19OT1NUUklORyIgdmFsdWU9Ik5lZSIvPg0KCQk8dWl0ZXh0IG5hbWU9IldBUk5JTkdNU0dfVElUTEVTVFJJTkciIHZhbHVlPSJXYWFyc2NodXdpbmcgbWV0IGJldHJla2tpbmcgdG90IHF1aXpuYXZpZ2F0aWUiLz4NCgkJPHVpdGV4dCBuYW1lPSJXQVJOSU5HTVNHX01TR1NUUklORyIgdmFsdWU9IlUgaGVidCBuaWV0IGFsbGUgdnJhZ2VuIGluIGRlemUgcXVpeiBiZWFudHdvb3JkLiYjeEE7JiN4QTtLbGlrIG9wIEphIG9tIGRlIHF1aXogYWYgdGUgc2x1aXRlbi4gS2xpayBvcCBOZWUgb20gZGUgcXVpeiB2b29ydCB0ZSB6ZXR0ZW4uIi8+DQoJCTx1aXRleHQgbmFtZT0iSU5GT1JNQVRJT05fSDI2NF9GTEFTSFBMQVlFUiIgdmFsdWU9IkRlemUgdmlkZW8gd29yZHQgbmlldCBvbmRlcnN0ZXVuZCBkb29yIGRlIHZlcnNpZSB2YW4gRmxhc2ggUGxheWVyIGRpZSBtb21lbnRlZWwgb3AgdXcgY29tcHV0ZXIgaXMgZ2XDr25zdGFsbGVlcmQuIEtsaWsgaW4gZGUgdmlkZW8gb20gZGUgbmlldXdzdGUgRmxhc2ggUGxheWVyIHRlIGRvd25sb2FkZW4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lppanBhbmVlbCBhYW4gZGVlbG5lbWVycyB3ZWVyZ2V2ZW4iLz4NCgkJPHVpdGV4dCBuYW1lPSJNVVRFIiB2YWx1ZT0iRGVtcGVuIi8+DQoJCTx1aXRleHQgbmFtZT0iRE9DV1JBUF9USVRMRSIgdmFsdWU9IlByZXNlbnRlci1iZXN0YW5kc2JpamxhZ2UiLz4NCgkJPHVpdGV4dCBuYW1lPSJET0NXUkFQX01TRyIgdmFsdWU9Ik9wc2xhYW4gaW4gRGV6ZSBjb21wdXRlciIvPg0KCQk8dWl0ZXh0IG5hbWU9IkRPQ1dSQVBfUFJPTVBUIiB2YWx1ZT0iS2xpayBvbSB0ZSBkb3dubG9hZGVuIi8+DQoJPC9sYW5ndWFnZT4NCgk8bGFuZ3VhZ2UgaWQ9ImNuIj4NCgkJPCEtLSBmb3JtYXQgZm9yIHVpZm9udCB2YWx1ZSBpcyAiZm9udCxzaXplLGlzYm9sZCxpc2l0YWxpYyxpc3NoYWRvd2VkIiAtLT4NCgkJPHVpZm9udCBuYW1lPSJGT05UX1FVSVpaSU5HIiB2YWx1ZT0i5a6L5L2TLTE4MDMwLDEwLGZhbHNlLGZhbHNlLGZhbHNlIi8+DQoJCTx1aWZvbnQgbmFtZT0iRk9OVF9TQ1JVQlNUQVRVUyIgdmFsdWU9IuWui+S9ky0xODAzMCwxMCx0cnVlLGZhbHNlLHRydWUiLz4NCgkJPHVpZm9udCBuYW1lPSJGT05UX1NDUlVCVElNRSIgdmFsdWU9IuWui+S9ky0xODAzMCwxMCxmYWxzZSxmYWxzZSx0cnVlIi8+DQoJCTx1aWZvbnQgbmFtZT0iRk9OVF9FTEFQU0VEVElNRSIgdmFsdWU9IuWui+S9ky0xODAzMCwxMCx0cnVlLGZhbHNlLHRydWUiLz4NCgkJPHVpZm9udCBuYW1lPSJGT05UX1VUSUxTTUVOVSIgdmFsdWU9IuWui+S9ky0xODAzMCwxMCx0cnVlLGZhbHNlLGZhbHNlIi8+DQoJCTx1aWZvbnQgbmFtZT0iRk9OVF9UQUJTIiB2YWx1ZT0i5a6L5L2TLTE4MDMwLDE0LHRydWUsZmFsc2UsdHJ1ZSIvPg0KCQk8dWlmb250IG5hbWU9IkZPTlRfUFJFU0VOVEFUSU9OTkFNRSIgdmFsdWU9IuWui+S9ky0xODAzMCwxNCxmYWxzZSxmYWxzZSx0cnVlIi8+DQoJCTx1aWZvbnQgbmFtZT0iRk9OVF9QUkVTRU5URVJOQU1FIiB2YWx1ZT0i5a6L5L2TLTE4MDMwLDE0LHRydWUsZmFsc2UsdHJ1ZSIvPg0KCQk8dWlmb250IG5hbWU9IkZPTlRfUFJFU0VOVEVSVElUTEUiIHZhbHVlPSLlrovkvZMtMTgwMzAsMTMsZmFsc2UsZmFsc2UsdHJ1ZSIvPg0KCQk8dWlmb250IG5hbWU9IkZPTlRfQklPQlROIiB2YWx1ZT0i5a6L5L2TLTE4MDMwLDEwLGZhbHNlLGZhbHNlLHRydWUiLz4NCgkJPHVpZm9udCBuYW1lPSJGT05UX05PVEVTIiB2YWx1ZT0i5a6L5L2TLTE4MDMwLDEyLGZhbHNlLGZhbHNlLGZhbHNlIi8+DQoJCTx1aWZvbnQgbmFtZT0iRk9OVF9PVVRMSU5FIiB2YWx1ZT0i5a6L5L2TLTE4MDMwLDEyLGZhbHNlLGZhbHNlLHRydWUiLz4NCgkJPHVpZm9udCBuYW1lPSJGT05UX1NFQVJDSCIgdmFsdWU9IuWui+S9ky0xODAzMCwxMixmYWxzZSxmYWxzZSx0cnVlIi8+DQoJCTx1aWZvbnQgbmFtZT0iRk9OVF9USFVNQiIgdmFsdWU9IuWui+S9ky0xODAzMCwxMCxmYWxzZSxmYWxzZSx0cnVlIi8+DQoJCTx1aWZvbnQgbmFtZT0iRk9OVF9CSU9XSU4iIHZhbHVlPSLlrovkvZMtMTgwMzAsMTIsZmFsc2UsZmFsc2UsZmFsc2UiLz4NCgkJPHVpZm9udCBuYW1lPSJGT05UX0xJU1RIRUFESU5HIiB2YWx1ZT0i5a6L5L2TLTE4MDMwLDEwLGZhbHNlLGZhbHNlLGZhbHNlIi8+DQoJCTx1aWZvbnQgbmFtZT0iRk9OVF9XSU5USVRMRSIgdmFsdWU9IuWui+S9ky0xODAzMCwxMCxmYWxzZSxmYWxzZSx0cnVlIi8+DQoJCTx1aWZvbnQgbmFtZT0iRk9OVF9BVFRBQ0hNRU5UUyIgdmFsdWU9IuWui+S9ky0xODAzMCwxMixmYWxzZSxmYWxzZSx0cnVlIi8+DQoJCTwhLS1xdWl6IHBvZCBhbmQgbWVzc2FnZSBib3ggdGV4dCBmb250cy0tPg0KCQk8dWlmb250IG5hbWU9IkZPTlRfTVNHQk9YX1dJTlRJVExFIiB2YWx1ZT0i5a6L5L2TLTE4MDMwLDEyLHRydWUsZmFsc2UsdHJ1ZSIvPg0KCQk8dWlmb250IG5hbWU9IkZPTlRfTVNHQk9YX01TRyIgdmFsdWU9IuWui+S9ky0xODAzMCwxMixmYWxzZSxmYWxzZSx0cnVlIi8+DQoJCTx1aWZvbnQgbmFtZT0iRk9OVF9NU0dCT1hfT1BUSU9OUyIgdmFsdWU9IuWui+S9ky0xODAzMCwxMCx0cnVlLGZhbHNlLHRydWUiLz4NCgkJPHVpZm9udCBuYW1lPSJGT05UX1FVSVpQT0RfUVVJWl9USVRMRSIgdmFsdWU9IuWui+S9ky0xODAzMCwxMix0cnVlLGZhbHNlLHRydWUiLz4NCgkJPHVpZm9udCBuYW1lPSJGT05UX1FVSVpQT0RfUVVJWl9BVFRFTVBUIiB2YWx1ZT0i5a6L5L2TLTE4MDMwLDEwLGZhbHNlLGZhbHNlLHRydWUiLz4NCgkJPHVpZm9udCBuYW1lPSJGT05UX1FVSVpQT0RfUVVJWl9BVFRFTVBUX1ZBTFVFIiB2YWx1ZT0i5a6L5L2TLTE4MDMwLDEwLHRydWUsZmFsc2UsdHJ1ZSIvPg0KCQk8dWlmb250IG5hbWU9IkZPTlRfUVVJWlBPRF9RVUVTVElPTl9TQ09SRSIgdmFsdWU9IuWui+S9ky0xODAzMCwxMCxmYWxzZSxmYWxzZSx0cnVlIi8+DQoJCTx1aWZvbnQgbmFtZT0iRk9OVF9RVUlaUE9EX1FVRVNUSU9OX1NDT1JFX1ZBTFVFIiB2YWx1ZT0i5a6L5L2TLTE4MDMwLDEwLHRydWUsZmFsc2UsdHJ1ZSIvPg0KCQk8dWlmb250IG5hbWU9IkZPTlRfUVVJWlBPRF9RVUVTVElPTl9BVFRFTVBUIiB2YWx1ZT0i5a6L5L2TLTE4MDMwLDEwLGZhbHNlLGZhbHNlLHRydWUiLz4NCgkJPHVpZm9udCBuYW1lPSJGT05UX1FVSVpQT0RfUVVFU1RJT05fQVRURU1QVF9WQUxVRSIgdmFsdWU9IuWui+S9ky0xODAzMCwxMCx0cnVlLGZhbHNlLHRydWUiLz4NCgkJPHVpZm9udCBuYW1lPSJGT05UX1FVSVpQT0RfUVVFU1RJT05fVEFHIiB2YWx1ZT0i5a6L5L2TLTE4MDMwLDEyLHRydWUsZmFsc2UsdHJ1ZSIvPg0KCQk8dWlmb250IG5hbWU9IkZPTlRfUVVJWlBPRF9RVUlaX1FVRVNUSU9OX0NPVU5UIiB2YWx1ZT0i5a6L5L2TLTE4MDMwLDEwLGZhbHNlLGZhbHNlLHRydWUiLz4NCgkJPHVpZm9udCBuYW1lPSJGT05UX1FVSVpQT0RfUVVJWl9RVUVTVElPTl9DT1VOVF9WQUxVRSIgdmFsdWU9IuWui+S9ky0xODAzMCwxMCx0cnVlLGZhbHNlLHRydWUiLz4NCgkJPHVpZm9udCBuYW1lPSJGT05UX1FVSVpQT0RfUVVJWl9RVUVTVElPTl9BVFRFTVBURUQiIHZhbHVlPSLlrovkvZMtMTgwMzAsMTAsZmFsc2UsZmFsc2UsdHJ1ZSIvPg0KCQk8dWlmb250IG5hbWU9IkZPTlRfUVVJWlBPRF9RVUlaX1FVRVNUSU9OX0FUVEVNUFRFRF9WQUxVRSIgdmFsdWU9IuWui+S9ky0xODAzMCwxMCx0cnVlLGZhbHNlLHRydWUiLz4NCgkJPHVpZm9udCBuYW1lPSJGT05UX1FVSVpQT0RfUVVJWl9TQ09SRV9UQUciIHZhbHVlPSLlrovkvZMtMTgwMzAsMTIsdHJ1ZSxmYWxzZSx0cnVlIi8+DQoJCTx1aWZvbnQgbmFtZT0iRk9OVF9RVUlaUE9EX1FVSVpfU0NPUkUiIHZhbHVlPSLlrovkvZMtMTgwMzAsMTAsZmFsc2UsZmFsc2UsdHJ1ZSIvPg0KCQk8dWlmb250IG5hbWU9IkZPTlRfUVVJWlBPRF9RVUlaX1NDT1JFX1ZBTFVFIiB2YWx1ZT0i5a6L5L2TLTE4MDMwLDEwLHRydWUsZmFsc2UsdHJ1ZSIvPg0KCQk8dWlmb250IG5hbWU9IkZPTlRfUVVJWlBPRF9RVUlaX01BWFNDT1JFIiB2YWx1ZT0i5a6L5L2TLTE4MDMwLDEwLGZhbHNlLGZhbHNlLHRydWUiLz4NCgkJPHVpZm9udCBuYW1lPSJGT05UX1FVSVpQT0RfUVVJWl9NQVhTQ09SRV9WQUxVRSIgdmFsdWU9IuWui+S9ky0xODAzMCwxMCx0cnVlLGZhbHNlLHRydWUiLz4NCgkJPHVpZm9udCBuYW1lPSJGT05UX1FVSVpQT0RfUVVJWl9QQVNTU0NPUkUiIHZhbHVlPSLlrovkvZMtMTgwMzAsMTAsZmFsc2UsZmFsc2UsdHJ1ZSIvPg0KCQk8dWlmb250IG5hbWU9IkZPTlRfUVVJWlBPRF9RVUlaX1BBU1NTQ09SRV9WQUxVRSIgdmFsdWU9IuWui+S9ky0xODAzMCwxMCx0cnVlLGZhbHNlLHRydWUiLz4NCgkJPCEtLSB1aXRleHQgLS0+DQoJCTwhLS0gc3Vic3RpdHV0aW9uOiAlbiA9PSBzbGlkZSBudW1iZXIgLS0+DQoJCTx1aXRleHQgbmFtZT0iVU5OQU1FRFNMSURFVElUTEUiIHZhbHVlPSLlubvnga/niYcgJW4iLz4NCgkJPCEtLSBzdWJzdGl0dXRpb246ICVuID09IHNsaWRlIG51bWJlciAtLT4NCgkJPCEtLSBzdWJzdGl0dXRpb246ICV0ID09IHRvdGFsIHNsaWRlIGNvdW50IC0tPg0KCQk8dWl0ZXh0IG5hbWU9IlNDUlVCQkFSU1RBVFVTX1NMSURFSU5GTyIgdmFsdWU9IuW5u+eBr+eJhyAlbiAvICV0IHwgIi8+DQoJCTx1aXRleHQgbmFtZT0iU0NSVUJCQVJTVEFUVVNfU1RPUFBFRCIgdmFsdWU9IuW3suWBnOatoiIvPg0KCQk8dWl0ZXh0IG5hbWU9IlNDUlVCQkFSU1RBVFVTX1BMQVlJTkciIHZhbHVlPSLmraPlnKjmkq3mlL4iLz4NCgkJPHVpdGV4dCBuYW1lPSJTQ1JVQkJBUlNUQVRVU19OT0FVRElPIiB2YWx1ZT0i5peg6Z+z6aKRIi8+DQoJCTx1aXRleHQgbmFtZT0iU0NSVUJCQVJTVEFUVVNfVklEUExBWUlORyIgdmFsdWU9IuinhumikeaSreaUviIvPg0KCQk8dWl0ZXh0IG5hbWU9IlNDUlVCQkFSU1RBVFVTX0xPQURJTkciIHZhbHVlPSLmraPlnKjovb3lhaUiLz4NCgkJPHVpdGV4dCBuYW1lPSJTQ1JVQkJBUlNUQVRVU19CVUZGRVJJTkciIHZhbHVlPSLmraPlnKjov5vooYznvJPlhrLlpITnkIYiLz4NCgkJPHVpdGV4dCBuYW1lPSJTQ1JVQkJBUlNUQVRVU19RVUVTVElPTiIgdmFsdWU9IuWbnuetlOmXrumimCIvPg0KCQk8dWl0ZXh0IG5hbWU9IlNDUlVCQkFSU1RBVFVTX1JFVklFV1FVSVoiIHZhbHVlPSLmraPlnKjlrqHpmIXmtYvpqowiLz4NCgkJPCEtLSBzdWJzdGl0dXRpb246ICVtID09IG1pbnV0ZXMgcmVtYWluaW5nIC0tPg0KCQk8IS0tIHN1YnN0aXR1dGlvbjogJXMgPT0gc2Vjb25kcyByZW1haW5pbmcgLS0+DQoJCTx1aXRleHQgbmFtZT0iRUxBUFNFRCIgdmFsdWU9IuWJqeS9mSAlbSDliIbpkp8gJXMg56eSIi8+DQoJCTx1aXRleHQgbmFtZT0iTk9URk9VTkQiIHZhbHVlPSLmnKrmib7liLDku7vkvZXlhoXlrrkiLz4NCgkJPHVpdGV4dCBuYW1lPSJBVFRBQ0hNRU5UUyIgdmFsdWU9IumZhOS7tiIvPg0KCQk8IS0tIHN1YnN0aXR1dGlvbjogJXAgPT0gY3VycmVudCBzcGVha2VyJ3MgdGl0bGUgLS0+DQoJCTx1aXRleHQgbmFtZT0iQklPV0lOX1RJVExFIiB2YWx1ZT0i5Liq5Lq6566A5LuLOiAlcCIvPg0KCQk8dWl0ZXh0IG5hbWU9IkJJT0JUTl9USVRMRSIgdmFsdWU9IuS4quS6uueugOS7iyIvPg0KCQk8dWl0ZXh0IG5hbWU9IkRJVklERVJCVE5fVElUTEUiIHZhbHVlPSJ8Ii8+DQoJCTx1aXRleHQgbmFtZT0iQ09OVEFDVEJUTl9USVRMRSIgdmFsdWU9IuiBlOezu+aWueW8jyIvPg0KCQk8dWl0ZXh0IG5hbWU9IlRBQl9RVUlaIiB2YWx1ZT0i5rWL6aqMIi8+DQoJCTx1aXRleHQgbmFtZT0iVEFCX09VVExJTkUiIHZhbHVlPSLlpKfnurIiLz4NCgkJPHVpdGV4dCBuYW1lPSJUQUJfVEhVTUIiIHZhbHVlPSLnvKnnlaXlm74iLz4NCgkJPHVpdGV4dCBuYW1lPSJUQUJfTk9URVMiIHZhbHVlPSLlpIfms6giLz4NCgkJPHVpdGV4dCBuYW1lPSJUQUJfU0VBUkNIIiB2YWx1ZT0i5pCc57SiIi8+DQoJCTx1aXRleHQgbmFtZT0iU0xJREVfSEVBRElORyIgdmFsdWU9IuW5u+eBr+eJh+agh+mimCIvPg0KCQk8dWl0ZXh0IG5hbWU9IkRVUkFUSU9OX0hFQURJTkciIHZhbHVlPSLmjIHnu63ml7bpl7QiLz4NCgkJPHVpdGV4dCBuYW1lPSJTRUFSQ0hfSEVBRElORyIgdmFsdWU9IuaQnOe0ouaWh+acrDoiLz4NCgkJPHVpdGV4dCBuYW1lPSJUSFVNQl9IRUFESU5HIiB2YWx1ZT0i5bm754Gv54mHIi8+DQoJCTx1aXRleHQgbmFtZT0iVEhVTUJfSU5GTyIgdmFsdWU9IuW5u+eBr+eJh+agh+mimC/mjIHnu63ml7bpl7QiLz4NCgkJPHVpdGV4dCBuYW1lPSJBVFRBQ0hOQU1FX0hFQURJTkciIHZhbHVlPSLmlofku7blkI0iLz4NCgkJPHVpdGV4dCBuYW1lPSJBVFRBQ0hTSVpFX0hFQURJTkciIHZhbHVlPSLlpKflsI8iLz4NCgkJPHVpdGV4dCBuYW1lPSJTTElERV9OT1RFUyIgdmFsdWU9IuW5u+eBr+eJh+Wkh+azqCIvPg0KCQk8IS0tcXVpeiBwb2QgYW5kIG1lc3NhZ2UgYm94IHRleHRzLS0+DQoJCTx1aXRleHQgbmFtZT0iUVVJWlBPRF9RVUlaX0FUVEVNUFQiIHZhbHVlPSLmtYvpqozlsJ3or5XmrKHmlbA6Ii8+DQoJCTx1aXRleHQgbmFtZT0iUVVJWlBPRF9RVUlaX0FUVEVNUFRfVkFMVUUiIHZhbHVlPSLnrKwgJW4g5qyh77yM5YWxICV0IOasoSIvPg0KCQk8dWl0ZXh0IG5hbWU9IlFVSVpQT0RfUVVJWl9TQ09SRSIgdmFsdWU9IuW+l+WIhjoiLz4NCgkJPHVpdGV4dCBuYW1lPSJRVUlaUE9EX1FVSVpfUEFTU1NDT1JFIiB2YWx1ZT0i5Y+K5qC85YiG5pWwOiIvPg0KCQk8dWl0ZXh0IG5hbWU9IlFVSVpQT0RfUVVJWl9NQVhTQ09SRSIgdmFsdWU9IuacgOmrmOWIhuaVsDoiLz4NCgkJPHVpdGV4dCBuYW1lPSJRVUlaUE9EX1FVRVNBVE1QVF9TVFIiIHZhbHVlPSLlsJ3or5XmrKHmlbA6IOesrCAlbiDmrKHvvIzlhbEgJXQg5qyhIi8+DQoJCTx1aXRleHQgbmFtZT0iUVVJWlBPRF9RVUVTVFlQRV9TVFIiIHZhbHVlPSLnsbvlnos6ICVzIi8+DQoJCTx1aXRleHQgbmFtZT0iUVVJWlBPRF9RVUVTVFlQRV9HUkQiIHZhbHVlPSLor4TnuqciLz4NCgkJPHVpdGV4dCBuYW1lPSJRVUlaUE9EX1FVRVNUWVBFX1NWWSIgdmFsdWU9Iuiwg+afpSIvPg0KCQk8dWl0ZXh0IG5hbWU9IlFVSVpQT0RfUVVJWkFUTVBUX0lORiIgdmFsdWU9IuaXoOmZkCIvPg0KCQk8dWl0ZXh0IG5hbWU9IlFVSVpQT0RfUVVFU0FUTVBUX0lORiIgdmFsdWU9IuaXoOmZkCIvPg0KCQk8dWl0ZXh0IG5hbWU9IldBUk5JTkdNU0dfWUVTU1RSSU5HIiB2YWx1ZT0i5pivIi8+DQoJCTx1aXRleHQgbmFtZT0iV0FSTklOR01TR19OT1NUUklORyIgdmFsdWU9IuWQpiIvPg0KCQk8dWl0ZXh0IG5hbWU9IldBUk5JTkdNU0dfVElUTEVTVFJJTkciIHZhbHVlPSLmtYvpqozlr7zoiKrorablkYoiLz4NCgkJPHVpdGV4dCBuYW1lPSJXQVJOSU5HTVNHX01TR1NUUklORyIgdmFsdWU9IuatpOa1i+mqjOS4reacieacquWwneivleS9nOetlOeahOmXrumimOOAgiYjeEE7JiN4QTvljZXlh7vigJzmmK/igJ3pgIDlh7rmraTmtYvpqozjgILljZXlh7vigJzlkKbigJ3nu6fnu63mtYvpqozjgIIiLz4NCgkJPHVpdGV4dCBuYW1lPSJJTkZPUk1BVElPTl9IMjY0X0ZMQVNIUExBWUVSIiB2YWx1ZT0i5b2T5YmN5a6J6KOF5Zyo5oKo55qE6K6h566X5py65LiK55qEIEZsYXNoIFBsYXllciDniYjmnKzkuI3mlK/mjIHor6Xop4bpopHjgILljZXlh7vop4bpopHljLrln5/kuIvovb3mnIDmlrDniYjmnKznmoQgRmxhc2ggUGxheWVy44CC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uWQkeWPguWKoOiAheaYvuekuuaPkOimgeagjyIvPg0KCQk8dWl0ZXh0IG5hbWU9Ik1VVEUiIHZhbHVlPSLpnZnpn7MiLz4NCgkJPHVpdGV4dCBuYW1lPSJET0NXUkFQX1RJVExFIiB2YWx1ZT0iUHJlc2VudGVyIOaWh+S7tumZhOS7tiIvPg0KCQk8dWl0ZXh0IG5hbWU9IkRPQ1dSQVBfTVNHIiB2YWx1ZT0i5L+d5a2Y5Yiw5oiR55qE6K6h566X5py6Ii8+DQoJCTx1aXRleHQgbmFtZT0iRE9DV1JBUF9QUk9NUFQiIHZhbHVlPSLljZXlh7vku6XkuIvovb0iLz4NCgk8L2xhbmd1YWdlPg0KCTxsYW5ndWFnZSBpZD0idHI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U2xheXQgJW4iLz4NCgkJPCEtLSBzdWJzdGl0dXRpb246ICVuID09IHNsaWRlIG51bWJlciAtLT4NCgkJPCEtLSBzdWJzdGl0dXRpb246ICV0ID09IHRvdGFsIHNsaWRlIGNvdW50IC0tPg0KCQk8dWl0ZXh0IG5hbWU9IlNDUlVCQkFSU1RBVFVTX1NMSURFSU5GTyIgdmFsdWU9IlNsYXl0ICVuIC8gJXQgfCAiLz4NCgkJPHVpdGV4dCBuYW1lPSJTQ1JVQkJBUlNUQVRVU19TVE9QUEVEIiB2YWx1ZT0iRHVyZHVydWxkdSIvPg0KCQk8dWl0ZXh0IG5hbWU9IlNDUlVCQkFSU1RBVFVTX1BMQVlJTkciIHZhbHVlPSJPeW5hdMSxbMSxeW9yIi8+DQoJCTx1aXRleHQgbmFtZT0iU0NSVUJCQVJTVEFUVVNfTk9BVURJTyIgdmFsdWU9IlNlcyBZb2siLz4NCgkJPHVpdGV4dCBuYW1lPSJTQ1JVQkJBUlNUQVRVU19WSURQTEFZSU5HIiB2YWx1ZT0iVmlkZW8gT3luYXTEsWzEsXlvciIvPg0KCQk8dWl0ZXh0IG5hbWU9IlNDUlVCQkFSU1RBVFVTX0xPQURJTkciIHZhbHVlPSJZw7xrbGVuaXlvciIvPg0KCQk8dWl0ZXh0IG5hbWU9IlNDUlVCQkFSU1RBVFVTX0JVRkZFUklORyIgdmFsdWU9IkFyYWJlbGxlxJ9lIEFsxLFuxLF5b3IiLz4NCgkJPHVpdGV4dCBuYW1lPSJTQ1JVQkJBUlNUQVRVU19RVUVTVElPTiIgdmFsdWU9IlNvcnV5dSBZYW7EsXRsYSIvPg0KCQk8dWl0ZXh0IG5hbWU9IlNDUlVCQkFSU1RBVFVTX1JFVklFV1FVSVoiIHZhbHVlPSJTxLFuYXYgxLBuY2VsZW5peW9yIi8+DQoJCTwhLS0gc3Vic3RpdHV0aW9uOiAlbSA9PSBtaW51dGVzIHJlbWFpbmluZyAtLT4NCgkJPCEtLSBzdWJzdGl0dXRpb246ICVzID09IHNlY29uZHMgcmVtYWluaW5nIC0tPg0KCQk8dWl0ZXh0IG5hbWU9IkVMQVBTRUQiIHZhbHVlPSIlbSBEYWtpa2EgJXMgU2FuaXllIEthbGTEsSIvPg0KCQk8dWl0ZXh0IG5hbWU9Ik5PVEZPVU5EIiB2YWx1ZT0iSGVyaGFuZ2kgQmlyIMWeZXkgQnVsdW5tYWTEsSIvPg0KCQk8dWl0ZXh0IG5hbWU9IkFUVEFDSE1FTlRTIiB2YWx1ZT0iRWtsZXIiLz4NCgkJPCEtLSBzdWJzdGl0dXRpb246ICVwID09IGN1cnJlbnQgc3BlYWtlcidzIHRpdGxlIC0tPg0KCQk8dWl0ZXh0IG5hbWU9IkJJT1dJTl9USVRMRSIgdmFsdWU9IkJpbzogJXAiLz4NCgkJPHVpdGV4dCBuYW1lPSJCSU9CVE5fVElUTEUiIHZhbHVlPSJCaW8iLz4NCgkJPHVpdGV4dCBuYW1lPSJESVZJREVSQlROX1RJVExFIiB2YWx1ZT0ifCIvPg0KCQk8dWl0ZXh0IG5hbWU9IkNPTlRBQ1RCVE5fVElUTEUiIHZhbHVlPSLEsHJ0aWJhdCIvPg0KCQk8dWl0ZXh0IG5hbWU9IlRBQl9RVUlaIiB2YWx1ZT0iU8SxbmF2Ii8+DQoJCTx1aXRleHQgbmFtZT0iVEFCX09VVExJTkUiIHZhbHVlPSJBbmEgSGF0Ii8+DQoJCTx1aXRleHQgbmFtZT0iVEFCX1RIVU1CIiB2YWx1ZT0iUmVzaW0iLz4NCgkJPHVpdGV4dCBuYW1lPSJUQUJfTk9URVMiIHZhbHVlPSJOb3RsYXIiLz4NCgkJPHVpdGV4dCBuYW1lPSJUQUJfU0VBUkNIIiB2YWx1ZT0iQXJhIi8+DQoJCTx1aXRleHQgbmFtZT0iU0xJREVfSEVBRElORyIgdmFsdWU9IlNsYXl0IEJhxZ9sxLHEn8SxIi8+DQoJCTx1aXRleHQgbmFtZT0iRFVSQVRJT05fSEVBRElORyIgdmFsdWU9IlPDvHJlIi8+DQoJCTx1aXRleHQgbmFtZT0iU0VBUkNIX0hFQURJTkciIHZhbHVlPSJNZXRuaSBhcmE6Ii8+DQoJCTx1aXRleHQgbmFtZT0iVEhVTUJfSEVBRElORyIgdmFsdWU9IlNsYXl0Ii8+DQoJCTx1aXRleHQgbmFtZT0iVEhVTUJfSU5GTyIgdmFsdWU9IlNsYXl0IEJhxZ9sxLHEn8SxL1PDvHJlc2kiLz4NCgkJPHVpdGV4dCBuYW1lPSJBVFRBQ0hOQU1FX0hFQURJTkciIHZhbHVlPSJEb3N5YSBBZMSxIi8+DQoJCTx1aXRleHQgbmFtZT0iQVRUQUNIU0laRV9IRUFESU5HIiB2YWx1ZT0iQm95dXQiLz4NCgkJPHVpdGV4dCBuYW1lPSJTTElERV9OT1RFUyIgdmFsdWU9IlNsYXl0IE5vdGxhcsSxIi8+DQoJCTwhLS1xdWl6IHBvZCBhbmQgbWVzc2FnZSBib3ggdGV4dHMtLT4NCgkJPHVpdGV4dCBuYW1lPSJRVUlaUE9EX1FVSVpfQVRURU1QVCIgdmFsdWU9IlPEsW5hdiBEZW5lbWVzaToiLz4NCgkJPHVpdGV4dCBuYW1lPSJRVUlaUE9EX1FVSVpfQVRURU1QVF9WQUxVRSIgdmFsdWU9IiVuLyV0Ii8+DQoJCTx1aXRleHQgbmFtZT0iUVVJWlBPRF9RVUlaX1NDT1JFIiB2YWx1ZT0iUHVhbjoiLz4NCgkJPHVpdGV4dCBuYW1lPSJRVUlaUE9EX1FVSVpfUEFTU1NDT1JFIiB2YWx1ZT0iR2XDp21lIFB1YW7EsToiLz4NCgkJPHVpdGV4dCBuYW1lPSJRVUlaUE9EX1FVSVpfTUFYU0NPUkUiIHZhbHVlPSJNYWtzaW11bSBQdWFuOiIvPg0KCQk8dWl0ZXh0IG5hbWU9IlFVSVpQT0RfUVVFU0FUTVBUX1NUUiIgdmFsdWU9IkRlbmVtZTogJW4vJXQiLz4NCgkJPHVpdGV4dCBuYW1lPSJRVUlaUE9EX1FVRVNUWVBFX1NUUiIgdmFsdWU9IlTDvHI6ICVzIi8+DQoJCTx1aXRleHQgbmFtZT0iUVVJWlBPRF9RVUVTVFlQRV9HUkQiIHZhbHVlPSJCYXNhbWFrbMSxIi8+DQoJCTx1aXRleHQgbmFtZT0iUVVJWlBPRF9RVUVTVFlQRV9TVlkiIHZhbHVlPSJBbmtldCIvPg0KCQk8dWl0ZXh0IG5hbWU9IlFVSVpQT0RfUVVJWkFUTVBUX0lORiIgdmFsdWU9IlPEsW7EsXJzxLF6Ii8+DQoJCTx1aXRleHQgbmFtZT0iUVVJWlBPRF9RVUVTQVRNUFRfSU5GIiB2YWx1ZT0iU8SxbsSxcnPEsXoiLz4NCgkJPHVpdGV4dCBuYW1lPSJXQVJOSU5HTVNHX1lFU1NUUklORyIgdmFsdWU9IkV2ZXQiLz4NCgkJPHVpdGV4dCBuYW1lPSJXQVJOSU5HTVNHX05PU1RSSU5HIiB2YWx1ZT0iSGF5xLFyIi8+DQoJCTx1aXRleHQgbmFtZT0iV0FSTklOR01TR19USVRMRVNUUklORyIgdmFsdWU9IlPEsW5hdiBHZXppbm1lIFV5YXLEsXPEsSIvPg0KCQk8dWl0ZXh0IG5hbWU9IldBUk5JTkdNU0dfTVNHU1RSSU5HIiB2YWx1ZT0iQnUgU8SxbmF2ZGEgZGVuZW5tZW1pxZ8gc29ydWxhciB2YXIuJiN4QTsmI3hBO0V2ZXQgc2XDp2VuZcSfaW5pIHTEsWtsYXTEsXJzYW7EsXogU8SxbmF2ZGFuIMOnxLFrYWNha3PEsW7EsXouIFPEsW5hdmEgZGV2YW0gZXRtZWsgacOnaW4gSGF5xLFyIHNlw6dlbmXEn2luaSB0xLFrbGF0xLFuLiIvPg0KCQk8dWl0ZXh0IG5hbWU9IklORk9STUFUSU9OX0gyNjRfRkxBU0hQTEFZRVIiIHZhbHVlPSJCaWxnaXNheWFyxLFuxLF6YSB5w7xrbMO8IG9sYW4gZ2XDp2VybGkgRmxhc2ggUGxheWVyIHPDvHLDvG3DvCBidSB2aWRlb3l1IGRlc3Rla2xlbWl5b3IuIEVuIHNvbiBGbGFzaCBQbGF5ZXIgc8O8csO8bcO8bsO8IGluZGlybWVrIGnDp2luIHZpZGVvIGFsYW7EsW7EsSB0xLFrbGF0xLFu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LYXTEsWzEsW1jxLFsYXJhIGtlbmFyIMOndWJ1xJ91bnUgZ8O2c3RlciIvPg0KCQk8dWl0ZXh0IG5hbWU9Ik1VVEUiIHZhbHVlPSJTZXNzaXoiLz4NCgkJPHVpdGV4dCBuYW1lPSJET0NXUkFQX1RJVExFIiB2YWx1ZT0iUHJlc2VudGVyIERvc3lhIEVraSIvPg0KCQk8dWl0ZXh0IG5hbWU9IkRPQ1dSQVBfTVNHIiB2YWx1ZT0iQmlsZ2lzYXlhcsSxbWEgS2F5ZGV0Ii8+DQoJCTx1aXRleHQgbmFtZT0iRE9DV1JBUF9QUk9NUFQiIHZhbHVlPSLEsG5kaXJtZWsgacOnaW4gVMSxa2xhdMSxbiIvPg0KCTwvbGFuZ3VhZ2U+DQoJPGxhbmd1YWdlIGlkPSJydS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LQodC70LDQudC0ICVuIi8+DQoJCTwhLS0gc3Vic3RpdHV0aW9uOiAlbiA9PSBzbGlkZSBudW1iZXIgLS0+DQoJCTwhLS0gc3Vic3RpdHV0aW9uOiAldCA9PSB0b3RhbCBzbGlkZSBjb3VudCAtLT4NCgkJPHVpdGV4dCBuYW1lPSJTQ1JVQkJBUlNUQVRVU19TTElERUlORk8iIHZhbHVlPSLQodC70LDQudC0ICVuIC8gJXQgfCAiLz4NCgkJPHVpdGV4dCBuYW1lPSJTQ1JVQkJBUlNUQVRVU19TVE9QUEVEIiB2YWx1ZT0i0J7RgdGC0LDQvdC+0LLQu9C10L3QviIvPg0KCQk8dWl0ZXh0IG5hbWU9IlNDUlVCQkFSU1RBVFVTX1BMQVlJTkciIHZhbHVlPSLQktC+0YHQv9GA0L7QuNC30LLQtdC00LXQvdC40LUiLz4NCgkJPHVpdGV4dCBuYW1lPSJTQ1JVQkJBUlNUQVRVU19OT0FVRElPIiB2YWx1ZT0i0J3QtdGCINCw0YPQtNC40L4iLz4NCgkJPHVpdGV4dCBuYW1lPSJTQ1JVQkJBUlNUQVRVU19WSURQTEFZSU5HIiB2YWx1ZT0i0JLQvtGB0L/RgNC+0LjQt9Cy0LXQtNC10L3QuNC1INCy0LjQtNC10L4iLz4NCgkJPHVpdGV4dCBuYW1lPSJTQ1JVQkJBUlNUQVRVU19MT0FESU5HIiB2YWx1ZT0i0JfQsNCz0YDRg9C30LrQsCIvPg0KCQk8dWl0ZXh0IG5hbWU9IlNDUlVCQkFSU1RBVFVTX0JVRkZFUklORyIgdmFsdWU9ItCR0YPRhNC10YDQuNC30LDRhtC40Y8iLz4NCgkJPHVpdGV4dCBuYW1lPSJTQ1JVQkJBUlNUQVRVU19RVUVTVElPTiIgdmFsdWU9ItCe0YLQstC10YIg0L3QsCDQstC+0L/RgNC+0YEiLz4NCgkJPHVpdGV4dCBuYW1lPSJTQ1JVQkJBUlNUQVRVU19SRVZJRVdRVUlaIiB2YWx1ZT0i0J7QsdC30L7RgCDQvtC/0YDQvtGB0LAiLz4NCgkJPCEtLSBzdWJzdGl0dXRpb246ICVtID09IG1pbnV0ZXMgcmVtYWluaW5nIC0tPg0KCQk8IS0tIHN1YnN0aXR1dGlvbjogJXMgPT0gc2Vjb25kcyByZW1haW5pbmcgLS0+DQoJCTx1aXRleHQgbmFtZT0iRUxBUFNFRCIgdmFsdWU9ItCe0YHRgtCw0LvQvtGB0YwgJW0g0LzQuNC9LiAlcyDRgSIvPg0KCQk8dWl0ZXh0IG5hbWU9Ik5PVEZPVU5EIiB2YWx1ZT0i0J3QuNGH0LXQs9C+INC90LUg0L3QsNC50LTQtdC90L4iLz4NCgkJPHVpdGV4dCBuYW1lPSJBVFRBQ0hNRU5UUyIgdmFsdWU9ItCS0LvQvtC20LXQvdC40Y8iLz4NCgkJPCEtLSBzdWJzdGl0dXRpb246ICVwID09IGN1cnJlbnQgc3BlYWtlcidzIHRpdGxlIC0tPg0KCQk8dWl0ZXh0IG5hbWU9IkJJT1dJTl9USVRMRSIgdmFsdWU9ItCR0LjQvtCz0YDQsNGE0LjRjzogJXAiLz4NCgkJPHVpdGV4dCBuYW1lPSJCSU9CVE5fVElUTEUiIHZhbHVlPSLQkdC40L7Qs9GA0LDRhNC40Y8iLz4NCgkJPHVpdGV4dCBuYW1lPSJESVZJREVSQlROX1RJVExFIiB2YWx1ZT0ifCIvPg0KCQk8dWl0ZXh0IG5hbWU9IkNPTlRBQ1RCVE5fVElUTEUiIHZhbHVlPSLQmtC+0L3RgtCw0LrRgiIvPg0KCQk8dWl0ZXh0IG5hbWU9IlRBQl9RVUlaIiB2YWx1ZT0i0J7Qv9GA0L7RgSIvPg0KCQk8dWl0ZXh0IG5hbWU9IlRBQl9PVVRMSU5FIiB2YWx1ZT0i0KHRhdC10LzQsCIvPg0KCQk8dWl0ZXh0IG5hbWU9IlRBQl9USFVNQiIgdmFsdWU9ItCR0LXQs9GD0L3QvtC6Ii8+DQoJCTx1aXRleHQgbmFtZT0iVEFCX05PVEVTIiB2YWx1ZT0i0JfQsNC80LXRgtC60LgiLz4NCgkJPHVpdGV4dCBuYW1lPSJUQUJfU0VBUkNIIiB2YWx1ZT0i0J/QvtC40YHQuiIvPg0KCQk8dWl0ZXh0IG5hbWU9IlNMSURFX0hFQURJTkciIHZhbHVlPSLQl9Cw0LPQvtC70L7QstC+0Log0YHQu9Cw0LnQtNCwIi8+DQoJCTx1aXRleHQgbmFtZT0iRFVSQVRJT05fSEVBRElORyIgdmFsdWU9ItCU0LvQuNGCLdGB0YLRjCIvPg0KCQk8dWl0ZXh0IG5hbWU9IlNFQVJDSF9IRUFESU5HIiB2YWx1ZT0i0J/QvtC40YHQuiDRgtC10LrRgdGC0LA6Ii8+DQoJCTx1aXRleHQgbmFtZT0iVEhVTUJfSEVBRElORyIgdmFsdWU9ItCh0LvQsNC50LQiLz4NCgkJPHVpdGV4dCBuYW1lPSJUSFVNQl9JTkZPIiB2YWx1ZT0i0J3QsNC30LLQsNC90LjQtS/QtNC70LjRgi3QvdC+0YHRgtGMIi8+DQoJCTx1aXRleHQgbmFtZT0iQVRUQUNITkFNRV9IRUFESU5HIiB2YWx1ZT0i0JjQvNGPINGE0LDQudC70LAiLz4NCgkJPHVpdGV4dCBuYW1lPSJBVFRBQ0hTSVpFX0hFQURJTkciIHZhbHVlPSLQoNCw0LfQvNC10YAiLz4NCgkJPHVpdGV4dCBuYW1lPSJTTElERV9OT1RFUyIgdmFsdWU9ItCX0LDQvNC10YLQutC4INC6INGB0LvQsNC50LTRgyIvPg0KCQk8IS0tcXVpeiBwb2QgYW5kIG1lc3NhZ2UgYm94IHRleHRzLS0+DQoJCTx1aXRleHQgbmFtZT0iUVVJWlBPRF9RVUlaX0FUVEVNUFQiIHZhbHVlPSLQn9C+0L/Ri9GC0LrQsCDQv9GA0L7QudGC0Lgg0L7Qv9GA0L7RgToiLz4NCgkJPHVpdGV4dCBuYW1lPSJRVUlaUE9EX1FVSVpfQVRURU1QVF9WQUxVRSIgdmFsdWU9IiVuINC40LcgJXQiLz4NCgkJPHVpdGV4dCBuYW1lPSJRVUlaUE9EX1FVSVpfU0NPUkUiIHZhbHVlPSLQndCw0LHRgNCw0L3QviDQsdCw0LvQu9C+0LI6Ii8+DQoJCTx1aXRleHQgbmFtZT0iUVVJWlBPRF9RVUlaX1BBU1NTQ09SRSIgdmFsdWU9ItCf0YDQvtGF0L7QtNC90L7QuSDRgNC10LfRg9C70YzRgtCw0YI6Ii8+DQoJCTx1aXRleHQgbmFtZT0iUVVJWlBPRF9RVUlaX01BWFNDT1JFIiB2YWx1ZT0i0JzQsNC60YHQuNC80LDQu9GM0L3Ri9C5INGA0LXQt9GD0LvRjNGC0LDRgjoiLz4NCgkJPHVpdGV4dCBuYW1lPSJRVUlaUE9EX1FVRVNBVE1QVF9TVFIiIHZhbHVlPSLQn9C+0L/Ri9GC0LrQsDogJW4g0LjQtyAldCIvPg0KCQk8dWl0ZXh0IG5hbWU9IlFVSVpQT0RfUVVFU1RZUEVfU1RSIiB2YWx1ZT0i0KLQuNC/OiAlcyIvPg0KCQk8dWl0ZXh0IG5hbWU9IlFVSVpQT0RfUVVFU1RZUEVfR1JEIiB2YWx1ZT0i0KEg0L7RhtC10L3QutC+0LkiLz4NCgkJPHVpdGV4dCBuYW1lPSJRVUlaUE9EX1FVRVNUWVBFX1NWWSIgdmFsdWU9ItCe0LHQt9C+0YAiLz4NCgkJPHVpdGV4dCBuYW1lPSJRVUlaUE9EX1FVSVpBVE1QVF9JTkYiIHZhbHVlPSLQkdC+0LvRjNGI0L7QtSDRh9C40YHQu9C+Ii8+DQoJCTx1aXRleHQgbmFtZT0iUVVJWlBPRF9RVUVTQVRNUFRfSU5GIiB2YWx1ZT0i0JHQvtC70YzRiNC+0LUg0YfQuNGB0LvQviIvPg0KCQk8dWl0ZXh0IG5hbWU9IldBUk5JTkdNU0dfWUVTU1RSSU5HIiB2YWx1ZT0i0JTQsCIvPg0KCQk8dWl0ZXh0IG5hbWU9IldBUk5JTkdNU0dfTk9TVFJJTkciIHZhbHVlPSLQndC10YIiLz4NCgkJPHVpdGV4dCBuYW1lPSJXQVJOSU5HTVNHX1RJVExFU1RSSU5HIiB2YWx1ZT0i0J/RgNC10LTRg9C/0YDQtdC20LTQtdC90LjQtSDQviDQvdCw0LLQuNCz0LDRhtC40Lgg0LIg0L7Qv9GA0L7RgdC1Ii8+DQoJCTx1aXRleHQgbmFtZT0iV0FSTklOR01TR19NU0dTVFJJTkciIHZhbHVlPSLQkiDQvtC/0YDQvtGB0LUg0L7RgdGC0LDQu9C40YHRjCDQvdC10L7RgtCy0LXRh9C10L3QvdGL0LUg0LLQvtC/0YDQvtGB0Ysu0J3QsNC20LDRgtC40LUg0LrQvdC+0L/QutC4ICZxdW90O9CU0LAmcXVvdDsg0L/RgNC40LLQtdC00LXRgiDQuiDQt9Cw0LrRgNGL0YLQuNGOINC+0L/RgNC+0YHQsC4g0J3QsNC20LDRgtC40LUg0LrQvdC+0L/QutC4ICZxdW90O9Cd0LXRgiZxdW90OyDQv9GA0L7QtNC+0LvQttC40YIg0L7Qv9GA0L7RgS4iLz4NCgkJPHVpdGV4dCBuYW1lPSJJTkZPUk1BVElPTl9IMjY0X0ZMQVNIUExBWUVSIiB2YWx1ZT0i0KLQtdC60YPRidCw0Y8g0LLQtdGA0YHQuNGPINC/0YDQvtC40LPRgNGL0LLQsNGC0LXQu9GPIEZsYXNoIFBsYXllciwg0YPRgdGC0LDQvdC+0LLQu9C10L3QvdCw0Y8g0L3QsCDRjdGC0L7QvCDQutC+0LzQv9GM0Y7RgtC10YDQtSwg0L3QtSDQv9C+0LTQtNC10YDQttC40LLQsNC10YIg0Y3RgtC+INCy0LjQtNC10L4uINCp0LXQu9C60L3QuNGC0LUg0LIg0L7QsdC70LDRgdGC0Lgg0LLQuNC00LXQviwg0YfRgtC+0LHRiyDQt9Cw0LPRgNGD0LfQuNGC0Ywg0L/QvtGB0LvQtdC00L3RjtGOINCy0LXRgNGB0LjRjiDQv9GA0L7QuNCz0YDRi9Cy0LDRgtC10LvRjy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tCf0L7QutCw0LfRi9Cy0LDRgtGMINCy0YDQtdC30LrRgyDRg9GH0LDRgdGC0L3QuNC60LDQvCIvPg0KCQk8dWl0ZXh0IG5hbWU9Ik1VVEUiIHZhbHVlPSLQntGC0LrQu9GO0YfQuNGC0Ywg0LfQstGD0LoiLz4NCgkJPHVpdGV4dCBuYW1lPSJET0NXUkFQX1RJVExFIiB2YWx1ZT0i0JLQu9C+0LbQtdC90LjQtSDQsiDRhNCw0LnQuyBBZG9iZSBQcmVzZW50ZXIiLz4NCgkJPHVpdGV4dCBuYW1lPSJET0NXUkFQX01TRyIgdmFsdWU9ItCh0L7RhdGA0LDQvdC40YLRjCDQsiDQv9Cw0L/QutGDICZxdW90O9Cc0L7QuSDQutC+0LzQv9GM0Y7RgtC10YAmcXVvdDsiLz4NCgkJPHVpdGV4dCBuYW1lPSJET0NXUkFQX1BST01QVCIgdmFsdWU9ItCp0LXQu9C60L3Rg9GC0Ywg0LTQu9GPINC30LDQs9GA0YPQt9C60LgiLz4NCgk8L2xhbmd1YWdlPg0KPC9jb25maWd1cmF0aW9uPg0K"/>
  <p:tag name="NUMRESPONSES" val="1"/>
  <p:tag name="PARTICIPANTSINLEADERBOARD" val="5"/>
  <p:tag name="DISPLAYDEVICENUMBER" val="True"/>
  <p:tag name="ZEROBASED" val="False"/>
  <p:tag name="PRRESPONSE9" val="2"/>
  <p:tag name="ANSWERNOWSTYLE" val="-1"/>
  <p:tag name="BUBBLESIZEVISIBLE" val="True"/>
  <p:tag name="CHARTCOLORS" val="1"/>
  <p:tag name="PRRESPONSE3" val="8"/>
  <p:tag name="BACKUPSESSIONS" val="True"/>
  <p:tag name="USESCHEMECOLORS" val="True"/>
  <p:tag name="FIBINCLUDEOTHER" val="True"/>
  <p:tag name="BACKUPMAINTENANCE" val="7"/>
  <p:tag name="MULTIRESPDIVISOR" val="1"/>
  <p:tag name="CSVFORMAT" val="0"/>
  <p:tag name="AUTOADJUSTPARTRANGE" val="True"/>
  <p:tag name="CUSTOMCELLFORECOLOR" val="-16777216"/>
  <p:tag name="RACERSMAXDISPLAYED" val="5"/>
  <p:tag name="POLLINGCYCLE" val="2"/>
  <p:tag name="SHOWBARVISIBLE" val="True"/>
  <p:tag name="PRRESPONSE10" val="1"/>
  <p:tag name="DELIMITERS" val="3.1"/>
  <p:tag name="EXPANDSHOWBAR" val="True"/>
  <p:tag name="TASKPANEKEY" val="c5b9c887-de79-4cfe-9b14-c6bc8595042c"/>
  <p:tag name="TPFULLVERSION" val="4.3.2.1178"/>
</p:tagLst>
</file>

<file path=ppt/tags/tag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26&quot;/&gt;&lt;lineCharCount val=&quot;7&quot;/&gt;&lt;lineCharCount val=&quot;13&quot;/&gt;&lt;lineCharCount val=&quot;12&quot;/&gt;&lt;lineCharCount val=&quot;13&quot;/&gt;&lt;lineCharCount val=&quot;11&quot;/&gt;&lt;/TableIndex&gt;&lt;/ShapeTextInfo&gt;"/>
</p:tagLst>
</file>

<file path=ppt/tags/tag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26&quot;/&gt;&lt;lineCharCount val=&quot;7&quot;/&gt;&lt;lineCharCount val=&quot;13&quot;/&gt;&lt;lineCharCount val=&quot;12&quot;/&gt;&lt;lineCharCount val=&quot;13&quot;/&gt;&lt;lineCharCount val=&quot;11&quot;/&gt;&lt;/TableIndex&gt;&lt;/ShapeTextInfo&gt;"/>
</p:tagLst>
</file>

<file path=ppt/tags/tag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1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3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26&quot;/&gt;&lt;lineCharCount val=&quot;7&quot;/&gt;&lt;lineCharCount val=&quot;13&quot;/&gt;&lt;lineCharCount val=&quot;12&quot;/&gt;&lt;lineCharCount val=&quot;13&quot;/&gt;&lt;lineCharCount val=&quot;11&quot;/&gt;&lt;/TableIndex&gt;&lt;/ShapeTextInfo&gt;"/>
</p:tagLst>
</file>

<file path=ppt/tags/tag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26&quot;/&gt;&lt;lineCharCount val=&quot;7&quot;/&gt;&lt;lineCharCount val=&quot;13&quot;/&gt;&lt;lineCharCount val=&quot;12&quot;/&gt;&lt;lineCharCount val=&quot;13&quot;/&gt;&lt;lineCharCount val=&quot;11&quot;/&gt;&lt;/TableIndex&gt;&lt;/ShapeTextInfo&gt;"/>
</p:tagLst>
</file>

<file path=ppt/tags/tag3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3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3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OPREFERENCE" val="False"/>
</p:tagLst>
</file>

<file path=ppt/tags/tag4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9&quot;/&gt;&lt;lineCharCount val=&quot;20&quot;/&gt;&lt;lineCharCount val=&quot;17&quot;/&gt;&lt;/TableIndex&gt;&lt;/ShapeTextInfo&gt;"/>
  <p:tag name="PRESENTER_SHAPEINFO" val="&lt;ThreeDShapeInfo&gt;&lt;uuid val=&quot;{ECE310B4-4EB1-4BD4-BA08-056A1D67F764}&quot;/&gt;&lt;isInvalidForFieldText val=&quot;0&quot;/&gt;&lt;Image&gt;&lt;filename val=&quot;C:\Users\Jill\AppData\Local\Temp\PR\data\asimages\{ECE310B4-4EB1-4BD4-BA08-056A1D67F764}_42.png&quot;/&gt;&lt;left val=&quot;74&quot;/&gt;&lt;top val=&quot;87&quot;/&gt;&lt;width val=&quot;578&quot;/&gt;&lt;height val=&quot;271&quot;/&gt;&lt;hasText val=&quot;1&quot;/&gt;&lt;/Image&gt;&lt;/ThreeDShapeInfo&gt;"/>
</p:tagLst>
</file>

<file path=ppt/tags/tag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3&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NOPREFERENCE" val="False"/>
</p:tagLst>
</file>

<file path=ppt/tags/tag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6&quot;/&gt;&lt;lineCharCount val=&quot;26&quot;/&gt;&lt;/TableIndex&gt;&lt;/ShapeTextInfo&gt;"/>
</p:tagLst>
</file>

<file path=ppt/tags/tag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TableIndex row=&quot;1&quot; col=&quot;2&quot;&gt;&lt;linesCount val=&quot;2&quot;/&gt;&lt;lineCharCount val=&quot;20&quot;/&gt;&lt;lineCharCount val=&quot;5&quot;/&gt;&lt;/TableIndex&gt;&lt;TableIndex row=&quot;1&quot; col=&quot;3&quot;&gt;&lt;linesCount val=&quot;2&quot;/&gt;&lt;lineCharCount val=&quot;20&quot;/&gt;&lt;lineCharCount val=&quot;6&quot;/&gt;&lt;/TableIndex&gt;&lt;TableIndex row=&quot;2&quot; col=&quot;1&quot;&gt;&lt;linesCount val=&quot;1&quot;/&gt;&lt;lineCharCount val=&quot;15&quot;/&gt;&lt;/TableIndex&gt;&lt;TableIndex row=&quot;2&quot; col=&quot;2&quot;&gt;&lt;linesCount val=&quot;1&quot;/&gt;&lt;lineCharCount val=&quot;9&quot;/&gt;&lt;/TableIndex&gt;&lt;TableIndex row=&quot;2&quot; col=&quot;3&quot;&gt;&lt;linesCount val=&quot;1&quot;/&gt;&lt;lineCharCount val=&quot;12&quot;/&gt;&lt;/TableIndex&gt;&lt;TableIndex row=&quot;3&quot; col=&quot;1&quot;&gt;&lt;linesCount val=&quot;1&quot;/&gt;&lt;lineCharCount val=&quot;17&quot;/&gt;&lt;/TableIndex&gt;&lt;TableIndex row=&quot;3&quot; col=&quot;2&quot;&gt;&lt;linesCount val=&quot;1&quot;/&gt;&lt;lineCharCount val=&quot;17&quot;/&gt;&lt;/TableIndex&gt;&lt;TableIndex row=&quot;3&quot; col=&quot;3&quot;&gt;&lt;linesCount val=&quot;2&quot;/&gt;&lt;lineCharCount val=&quot;1&quot;/&gt;&lt;lineCharCount val=&quot;8&quot;/&gt;&lt;/TableIndex&gt;&lt;TableIndex row=&quot;4&quot; col=&quot;1&quot;&gt;&lt;linesCount val=&quot;2&quot;/&gt;&lt;lineCharCount val=&quot;23&quot;/&gt;&lt;lineCharCount val=&quot;8&quot;/&gt;&lt;/TableIndex&gt;&lt;TableIndex row=&quot;4&quot; col=&quot;2&quot;&gt;&lt;linesCount val=&quot;1&quot;/&gt;&lt;lineCharCount val=&quot;7&quot;/&gt;&lt;/TableIndex&gt;&lt;TableIndex row=&quot;4&quot; col=&quot;3&quot;&gt;&lt;linesCount val=&quot;2&quot;/&gt;&lt;lineCharCount val=&quot;1&quot;/&gt;&lt;lineCharCount val=&quot;9&quot;/&gt;&lt;/TableIndex&gt;&lt;/ShapeTextInfo&gt;"/>
</p:tagLst>
</file>

<file path=ppt/tags/tag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66&quot;/&gt;&lt;lineCharCount val=&quot;65&quot;/&gt;&lt;lineCharCount val=&quot;41&quot;/&gt;&lt;/TableIndex&gt;&lt;/ShapeTextInfo&gt;"/>
</p:tagLst>
</file>

<file path=ppt/tags/tag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9&quot;/&gt;&lt;/TableIndex&gt;&lt;/ShapeTextInfo&gt;"/>
</p:tagLst>
</file>

<file path=ppt/tags/tag49.xml><?xml version="1.0" encoding="utf-8"?>
<p:tagLst xmlns:a="http://schemas.openxmlformats.org/drawingml/2006/main" xmlns:r="http://schemas.openxmlformats.org/officeDocument/2006/relationships" xmlns:p="http://schemas.openxmlformats.org/presentationml/2006/main">
  <p:tag name="TIMING" val="|0.5|1|0.3|0.2|0.2"/>
</p:tagLst>
</file>

<file path=ppt/tags/tag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0.xml><?xml version="1.0" encoding="utf-8"?>
<p:tagLst xmlns:a="http://schemas.openxmlformats.org/drawingml/2006/main" xmlns:r="http://schemas.openxmlformats.org/officeDocument/2006/relationships" xmlns:p="http://schemas.openxmlformats.org/presentationml/2006/main">
  <p:tag name="TIMING" val="|0.5|2.8|2.1|2.3"/>
</p:tagLst>
</file>

<file path=ppt/tags/tag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4&quot;/&gt;&lt;/TableIndex&gt;&lt;/ShapeTextInfo&gt;"/>
</p:tagLst>
</file>

<file path=ppt/tags/tag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59&quot;/&gt;&lt;/TableIndex&gt;&lt;/ShapeTextInfo&gt;"/>
</p:tagLst>
</file>

<file path=ppt/tags/tag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7&quot;/&gt;&lt;/TableIndex&gt;&lt;TableIndex row=&quot;1&quot; col=&quot;2&quot;&gt;&lt;linesCount val=&quot;1&quot;/&gt;&lt;lineCharCount val=&quot;5&quot;/&gt;&lt;/TableIndex&gt;&lt;TableIndex row=&quot;1&quot; col=&quot;3&quot;&gt;&lt;linesCount val=&quot;1&quot;/&gt;&lt;lineCharCount val=&quot;10&quot;/&gt;&lt;/TableIndex&gt;&lt;TableIndex row=&quot;2&quot; col=&quot;1&quot;&gt;&lt;linesCount val=&quot;1&quot;/&gt;&lt;lineCharCount val=&quot;6&quot;/&gt;&lt;/TableIndex&gt;&lt;TableIndex row=&quot;2&quot; col=&quot;2&quot;&gt;&lt;linesCount val=&quot;1&quot;/&gt;&lt;lineCharCount val=&quot;4&quot;/&gt;&lt;/TableIndex&gt;&lt;TableIndex row=&quot;2&quot; col=&quot;3&quot;&gt;&lt;linesCount val=&quot;1&quot;/&gt;&lt;lineCharCount val=&quot;11&quot;/&gt;&lt;/TableIndex&gt;&lt;TableIndex row=&quot;3&quot; col=&quot;1&quot;&gt;&lt;linesCount val=&quot;1&quot;/&gt;&lt;lineCharCount val=&quot;7&quot;/&gt;&lt;/TableIndex&gt;&lt;TableIndex row=&quot;3&quot; col=&quot;2&quot;&gt;&lt;linesCount val=&quot;1&quot;/&gt;&lt;lineCharCount val=&quot;4&quot;/&gt;&lt;/TableIndex&gt;&lt;TableIndex row=&quot;3&quot; col=&quot;3&quot;&gt;&lt;linesCount val=&quot;1&quot;/&gt;&lt;lineCharCount val=&quot;11&quot;/&gt;&lt;/TableIndex&gt;&lt;TableIndex row=&quot;4&quot; col=&quot;1&quot;&gt;&lt;linesCount val=&quot;1&quot;/&gt;&lt;lineCharCount val=&quot;12&quot;/&gt;&lt;/TableIndex&gt;&lt;TableIndex row=&quot;4&quot; col=&quot;2&quot;&gt;&lt;linesCount val=&quot;1&quot;/&gt;&lt;lineCharCount val=&quot;4&quot;/&gt;&lt;/TableIndex&gt;&lt;TableIndex row=&quot;4&quot; col=&quot;3&quot;&gt;&lt;linesCount val=&quot;1&quot;/&gt;&lt;lineCharCount val=&quot;11&quot;/&gt;&lt;/TableIndex&gt;&lt;TableIndex row=&quot;5&quot; col=&quot;1&quot;&gt;&lt;linesCount val=&quot;1&quot;/&gt;&lt;lineCharCount val=&quot;7&quot;/&gt;&lt;/TableIndex&gt;&lt;TableIndex row=&quot;5&quot; col=&quot;2&quot;&gt;&lt;linesCount val=&quot;1&quot;/&gt;&lt;lineCharCount val=&quot;2&quot;/&gt;&lt;/TableIndex&gt;&lt;TableIndex row=&quot;5&quot; col=&quot;3&quot;&gt;&lt;linesCount val=&quot;1&quot;/&gt;&lt;lineCharCount val=&quot;6&quot;/&gt;&lt;/TableIndex&gt;&lt;TableIndex row=&quot;6&quot; col=&quot;1&quot;&gt;&lt;linesCount val=&quot;1&quot;/&gt;&lt;lineCharCount val=&quot;7&quot;/&gt;&lt;/TableIndex&gt;&lt;TableIndex row=&quot;6&quot; col=&quot;2&quot;&gt;&lt;linesCount val=&quot;1&quot;/&gt;&lt;lineCharCount val=&quot;1&quot;/&gt;&lt;/TableIndex&gt;&lt;TableIndex row=&quot;6&quot; col=&quot;3&quot;&gt;&lt;linesCount val=&quot;1&quot;/&gt;&lt;lineCharCount val=&quot;5&quot;/&gt;&lt;/TableIndex&gt;&lt;TableIndex row=&quot;7&quot; col=&quot;1&quot;&gt;&lt;linesCount val=&quot;1&quot;/&gt;&lt;lineCharCount val=&quot;4&quot;/&gt;&lt;/TableIndex&gt;&lt;TableIndex row=&quot;7&quot; col=&quot;2&quot;&gt;&lt;linesCount val=&quot;1&quot;/&gt;&lt;lineCharCount val=&quot;1&quot;/&gt;&lt;/TableIndex&gt;&lt;TableIndex row=&quot;7&quot; col=&quot;3&quot;&gt;&lt;linesCount val=&quot;1&quot;/&gt;&lt;lineCharCount val=&quot;6&quot;/&gt;&lt;/TableIndex&gt;&lt;TableIndex row=&quot;8&quot; col=&quot;1&quot;&gt;&lt;linesCount val=&quot;1&quot;/&gt;&lt;lineCharCount val=&quot;5&quot;/&gt;&lt;/TableIndex&gt;&lt;TableIndex row=&quot;8&quot; col=&quot;2&quot;&gt;&lt;linesCount val=&quot;1&quot;/&gt;&lt;lineCharCount val=&quot;1&quot;/&gt;&lt;/TableIndex&gt;&lt;TableIndex row=&quot;8&quot; col=&quot;3&quot;&gt;&lt;linesCount val=&quot;1&quot;/&gt;&lt;lineCharCount val=&quot;5&quot;/&gt;&lt;/TableIndex&gt;&lt;TableIndex row=&quot;9&quot; col=&quot;1&quot;&gt;&lt;linesCount val=&quot;1&quot;/&gt;&lt;lineCharCount val=&quot;3&quot;/&gt;&lt;/TableIndex&gt;&lt;TableIndex row=&quot;9&quot; col=&quot;2&quot;&gt;&lt;linesCount val=&quot;1&quot;/&gt;&lt;lineCharCount val=&quot;1&quot;/&gt;&lt;/TableIndex&gt;&lt;TableIndex row=&quot;9&quot; col=&quot;3&quot;&gt;&lt;linesCount val=&quot;1&quot;/&gt;&lt;lineCharCount val=&quot;6&quot;/&gt;&lt;/TableIndex&gt;&lt;TableIndex row=&quot;10&quot; col=&quot;1&quot;&gt;&lt;linesCount val=&quot;1&quot;/&gt;&lt;lineCharCount val=&quot;5&quot;/&gt;&lt;/TableIndex&gt;&lt;TableIndex row=&quot;10&quot; col=&quot;2&quot;&gt;&lt;linesCount val=&quot;1&quot;/&gt;&lt;lineCharCount val=&quot;6&quot;/&gt;&lt;/TableIndex&gt;&lt;TableIndex row=&quot;10&quot; col=&quot;3&quot;&gt;&lt;linesCount val=&quot;1&quot;/&gt;&lt;lineCharCount val=&quot;12&quot;/&gt;&lt;/TableIndex&gt;&lt;/ShapeTextInfo&gt;"/>
</p:tagLst>
</file>

<file path=ppt/tags/tag55.xml><?xml version="1.0" encoding="utf-8"?>
<p:tagLst xmlns:a="http://schemas.openxmlformats.org/drawingml/2006/main" xmlns:r="http://schemas.openxmlformats.org/officeDocument/2006/relationships" xmlns:p="http://schemas.openxmlformats.org/presentationml/2006/main">
  <p:tag name="PRESENTER_SHAPEINFO" val="&lt;ThreeDShapeInfo&gt;&lt;uuid val=&quot;{64783DCC-7AA6-489A-9E7D-7123F8726F6B}&quot;/&gt;&lt;isInvalidForFieldText val=&quot;0&quot;/&gt;&lt;Image&gt;&lt;filename val=&quot;C:\Users\Jillian\AppData\Local\Temp\PR\data\asimages\{64783DCC-7AA6-489A-9E7D-7123F8726F6B}_12.png&quot;/&gt;&lt;left val=&quot;354&quot;/&gt;&lt;top val=&quot;126&quot;/&gt;&lt;width val=&quot;358&quot;/&gt;&lt;height val=&quot;392&quot;/&gt;&lt;hasText val=&quot;1&quot;/&gt;&lt;/Image&gt;&lt;/ThreeDShapeInfo&gt;"/>
</p:tagLst>
</file>

<file path=ppt/tags/tag56.xml><?xml version="1.0" encoding="utf-8"?>
<p:tagLst xmlns:a="http://schemas.openxmlformats.org/drawingml/2006/main" xmlns:r="http://schemas.openxmlformats.org/officeDocument/2006/relationships" xmlns:p="http://schemas.openxmlformats.org/presentationml/2006/main">
  <p:tag name="TIMING" val="|0.2|0.5|0.3"/>
</p:tagLst>
</file>

<file path=ppt/tags/tag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3&quot;/&gt;&lt;/TableIndex&gt;&lt;/ShapeTextInfo&gt;"/>
</p:tagLst>
</file>

<file path=ppt/tags/tag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0&quot;/&gt;&lt;lineCharCount val=&quot;22&quot;/&gt;&lt;lineCharCount val=&quot;45&quot;/&gt;&lt;lineCharCount val=&quot;46&quot;/&gt;&lt;lineCharCount val=&quot;45&quot;/&gt;&lt;lineCharCount val=&quot;46&quot;/&gt;&lt;lineCharCount val=&quot;46&quot;/&gt;&lt;lineCharCount val=&quot;41&quot;/&gt;&lt;lineCharCount val=&quot;42&quot;/&gt;&lt;lineCharCount val=&quot;1&quot;/&gt;&lt;lineCharCount val=&quot;103&quot;/&gt;&lt;/TableIndex&gt;&lt;/ShapeTextInfo&gt;"/>
</p:tagLst>
</file>

<file path=ppt/tags/tag59.xml><?xml version="1.0" encoding="utf-8"?>
<p:tagLst xmlns:a="http://schemas.openxmlformats.org/drawingml/2006/main" xmlns:r="http://schemas.openxmlformats.org/officeDocument/2006/relationships" xmlns:p="http://schemas.openxmlformats.org/presentationml/2006/main">
  <p:tag name="NOPREFERENCE" val="False"/>
</p:tagLst>
</file>

<file path=ppt/tags/tag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60.xml><?xml version="1.0" encoding="utf-8"?>
<p:tagLst xmlns:a="http://schemas.openxmlformats.org/drawingml/2006/main" xmlns:r="http://schemas.openxmlformats.org/officeDocument/2006/relationships" xmlns:p="http://schemas.openxmlformats.org/presentationml/2006/main">
  <p:tag name="NOPREFERENCE" val="False"/>
</p:tagLst>
</file>

<file path=ppt/tags/tag61.xml><?xml version="1.0" encoding="utf-8"?>
<p:tagLst xmlns:a="http://schemas.openxmlformats.org/drawingml/2006/main" xmlns:r="http://schemas.openxmlformats.org/officeDocument/2006/relationships" xmlns:p="http://schemas.openxmlformats.org/presentationml/2006/main">
  <p:tag name="NOPREFERENCE" val="False"/>
</p:tagLst>
</file>

<file path=ppt/tags/tag62.xml><?xml version="1.0" encoding="utf-8"?>
<p:tagLst xmlns:a="http://schemas.openxmlformats.org/drawingml/2006/main" xmlns:r="http://schemas.openxmlformats.org/officeDocument/2006/relationships" xmlns:p="http://schemas.openxmlformats.org/presentationml/2006/main">
  <p:tag name="NOPREFERENCE" val="False"/>
</p:tagLst>
</file>

<file path=ppt/tags/tag63.xml><?xml version="1.0" encoding="utf-8"?>
<p:tagLst xmlns:a="http://schemas.openxmlformats.org/drawingml/2006/main" xmlns:r="http://schemas.openxmlformats.org/officeDocument/2006/relationships" xmlns:p="http://schemas.openxmlformats.org/presentationml/2006/main">
  <p:tag name="NOPREFERENCE" val="False"/>
</p:tagLst>
</file>

<file path=ppt/tags/tag64.xml><?xml version="1.0" encoding="utf-8"?>
<p:tagLst xmlns:a="http://schemas.openxmlformats.org/drawingml/2006/main" xmlns:r="http://schemas.openxmlformats.org/officeDocument/2006/relationships" xmlns:p="http://schemas.openxmlformats.org/presentationml/2006/main">
  <p:tag name="NOPREFERENCE" val="False"/>
</p:tagLst>
</file>

<file path=ppt/tags/tag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1&quot;/&gt;&lt;lineCharCount val=&quot;36&quot;/&gt;&lt;/TableIndex&gt;&lt;/ShapeTextInfo&gt;"/>
</p:tagLst>
</file>

<file path=ppt/tags/tag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39&quot;/&gt;&lt;lineCharCount val=&quot;44&quot;/&gt;&lt;lineCharCount val=&quot;10&quot;/&gt;&lt;lineCharCount val=&quot;28&quot;/&gt;&lt;lineCharCount val=&quot;12&quot;/&gt;&lt;lineCharCount val=&quot;38&quot;/&gt;&lt;lineCharCount val=&quot;22&quot;/&gt;&lt;lineCharCount val=&quot;21&quot;/&gt;&lt;lineCharCount val=&quot;32&quot;/&gt;&lt;/TableIndex&gt;&lt;/ShapeTextInfo&gt;"/>
</p:tagLst>
</file>

<file path=ppt/tags/tag67.xml><?xml version="1.0" encoding="utf-8"?>
<p:tagLst xmlns:a="http://schemas.openxmlformats.org/drawingml/2006/main" xmlns:r="http://schemas.openxmlformats.org/officeDocument/2006/relationships" xmlns:p="http://schemas.openxmlformats.org/presentationml/2006/main">
  <p:tag name="NOPREFERENCE" val="False"/>
</p:tagLst>
</file>

<file path=ppt/tags/tag68.xml><?xml version="1.0" encoding="utf-8"?>
<p:tagLst xmlns:a="http://schemas.openxmlformats.org/drawingml/2006/main" xmlns:r="http://schemas.openxmlformats.org/officeDocument/2006/relationships" xmlns:p="http://schemas.openxmlformats.org/presentationml/2006/main">
  <p:tag name="NOPREFERENCE" val="False"/>
</p:tagLst>
</file>

<file path=ppt/tags/tag69.xml><?xml version="1.0" encoding="utf-8"?>
<p:tagLst xmlns:a="http://schemas.openxmlformats.org/drawingml/2006/main" xmlns:r="http://schemas.openxmlformats.org/officeDocument/2006/relationships" xmlns:p="http://schemas.openxmlformats.org/presentationml/2006/main">
  <p:tag name="NOPREFERENCE" val="False"/>
</p:tagLst>
</file>

<file path=ppt/tags/tag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15&quot;/&gt;&lt;lineCharCount val=&quot;1&quot;/&gt;&lt;lineCharCount val=&quot;28&quot;/&gt;&lt;lineCharCount val=&quot;15&quot;/&gt;&lt;lineCharCount val=&quot;18&quot;/&gt;&lt;lineCharCount val=&quot;10&quot;/&gt;&lt;lineCharCount val=&quot;13&quot;/&gt;&lt;lineCharCount val=&quot;19&quot;/&gt;&lt;lineCharCount val=&quot;7&quot;/&gt;&lt;/TableIndex&gt;&lt;/ShapeTextInfo&gt;"/>
  <p:tag name="PRESENTER_SHAPEINFO" val="&lt;ThreeDShapeInfo&gt;&lt;uuid val=&quot;{6D33B835-37C1-492C-91ED-86B9D0A7858F}&quot;/&gt;&lt;isInvalidForFieldText val=&quot;0&quot;/&gt;&lt;Image&gt;&lt;filename val=&quot;C:\Users\Jill\AppData\Local\Temp\PR\data\asimages\{6D33B835-37C1-492C-91ED-86B9D0A7858F}_85.png&quot;/&gt;&lt;left val=&quot;414&quot;/&gt;&lt;top val=&quot;142&quot;/&gt;&lt;width val=&quot;247&quot;/&gt;&lt;height val=&quot;221&quot;/&gt;&lt;hasText val=&quot;1&quot;/&gt;&lt;/Image&gt;&lt;/ThreeDShapeInfo&gt;"/>
</p:tagLst>
</file>

<file path=ppt/tags/tag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8&quot;/&gt;&lt;lineCharCount val=&quot;15&quot;/&gt;&lt;lineCharCount val=&quot;20&quot;/&gt;&lt;lineCharCount val=&quot;7&quot;/&gt;&lt;/TableIndex&gt;&lt;/ShapeTextInfo&gt;"/>
  <p:tag name="PRESENTER_SHAPEINFO" val="&lt;ThreeDShapeInfo&gt;&lt;uuid val=&quot;{532A2050-725A-4942-A19E-4DBCEB3DB5E0}&quot;/&gt;&lt;isInvalidForFieldText val=&quot;0&quot;/&gt;&lt;Image&gt;&lt;filename val=&quot;C:\Users\Jill\AppData\Local\Temp\PR\data\asimages\{532A2050-725A-4942-A19E-4DBCEB3DB5E0}_85.png&quot;/&gt;&lt;left val=&quot;419&quot;/&gt;&lt;top val=&quot;138&quot;/&gt;&lt;width val=&quot;247&quot;/&gt;&lt;height val=&quot;148&quot;/&gt;&lt;hasText val=&quot;1&quot;/&gt;&lt;/Image&gt;&lt;/ThreeDShapeInfo&gt;"/>
</p:tagLst>
</file>

<file path=ppt/tags/tag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8&quot;/&gt;&lt;lineCharCount val=&quot;21&quot;/&gt;&lt;lineCharCount val=&quot;15&quot;/&gt;&lt;/TableIndex&gt;&lt;/ShapeTextInfo&gt;"/>
  <p:tag name="PRESENTER_SHAPEINFO" val="&lt;ThreeDShapeInfo&gt;&lt;uuid val=&quot;{A4EF23C3-5E1F-425C-992F-123597F0FD8E}&quot;/&gt;&lt;isInvalidForFieldText val=&quot;0&quot;/&gt;&lt;Image&gt;&lt;filename val=&quot;C:\Users\Jill\AppData\Local\Temp\PR\data\asimages\{A4EF23C3-5E1F-425C-992F-123597F0FD8E}_85.png&quot;/&gt;&lt;left val=&quot;420&quot;/&gt;&lt;top val=&quot;145&quot;/&gt;&lt;width val=&quot;247&quot;/&gt;&lt;height val=&quot;119&quot;/&gt;&lt;hasText val=&quot;1&quot;/&gt;&lt;/Image&gt;&lt;/ThreeDShapeInfo&gt;"/>
</p:tagLst>
</file>

<file path=ppt/tags/tag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PRESENTER_SHAPEINFO" val="&lt;ThreeDShapeInfo&gt;&lt;uuid val=&quot;{B5056268-103A-40BF-B079-B626A9236539}&quot;/&gt;&lt;isInvalidForFieldText val=&quot;0&quot;/&gt;&lt;Image&gt;&lt;filename val=&quot;C:\Users\Jill\AppData\Local\Temp\PR\data\asimages\{B5056268-103A-40BF-B079-B626A9236539}_85.png&quot;/&gt;&lt;left val=&quot;342&quot;/&gt;&lt;top val=&quot;278&quot;/&gt;&lt;width val=&quot;99&quot;/&gt;&lt;height val=&quot;169&quot;/&gt;&lt;hasText val=&quot;1&quot;/&gt;&lt;/Image&gt;&lt;/ThreeDShapeInfo&gt;"/>
</p:tagLst>
</file>

<file path=ppt/tags/tag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24&quot;/&gt;&lt;lineCharCount val=&quot;21&quot;/&gt;&lt;lineCharCount val=&quot;15&quot;/&gt;&lt;/TableIndex&gt;&lt;/ShapeTextInfo&gt;"/>
  <p:tag name="PRESENTER_SHAPEINFO" val="&lt;ThreeDShapeInfo&gt;&lt;uuid val=&quot;{85610424-EF3E-4F27-9EC8-6464CDD79FAA}&quot;/&gt;&lt;isInvalidForFieldText val=&quot;0&quot;/&gt;&lt;Image&gt;&lt;filename val=&quot;C:\Users\Jill\AppData\Local\Temp\PR\data\asimages\{85610424-EF3E-4F27-9EC8-6464CDD79FAA}_85.png&quot;/&gt;&lt;left val=&quot;480&quot;/&gt;&lt;top val=&quot;366&quot;/&gt;&lt;width val=&quot;194&quot;/&gt;&lt;height val=&quot;73&quot;/&gt;&lt;hasText val=&quot;0&quot;/&gt;&lt;/Image&gt;&lt;/ThreeDShapeInfo&gt;"/>
</p:tagLst>
</file>

<file path=ppt/tags/tag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34&quot;/&gt;&lt;lineCharCount val=&quot;34&quot;/&gt;&lt;lineCharCount val=&quot;35&quot;/&gt;&lt;lineCharCount val=&quot;14&quot;/&gt;&lt;/TableIndex&gt;&lt;/ShapeTextInfo&gt;"/>
</p:tagLst>
</file>

<file path=ppt/tags/tag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PRESENTER_SHAPEINFO" val="&lt;ThreeDShapeInfo&gt;&lt;uuid val=&quot;{EAA40B47-53E4-47FD-9DAF-B39FE3AB630C}&quot;/&gt;&lt;isInvalidForFieldText val=&quot;0&quot;/&gt;&lt;Image&gt;&lt;filename val=&quot;C:\Users\Jill\AppData\Local\Temp\PR\data\asimages\{EAA40B47-53E4-47FD-9DAF-B39FE3AB630C}_85.png&quot;/&gt;&lt;left val=&quot;112&quot;/&gt;&lt;top val=&quot;196&quot;/&gt;&lt;width val=&quot;292&quot;/&gt;&lt;height val=&quot;258&quot;/&gt;&lt;hasText val=&quot;1&quot;/&gt;&lt;/Image&gt;&lt;/ThreeDShapeInfo&gt;"/>
</p:tagLst>
</file>

<file path=ppt/tags/tag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38&quot;/&gt;&lt;lineCharCount val=&quot;39&quot;/&gt;&lt;lineCharCount val=&quot;18&quot;/&gt;&lt;/TableIndex&gt;&lt;/ShapeTextInfo&gt;"/>
</p:tagLst>
</file>

<file path=ppt/tags/tag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35&quot;/&gt;&lt;lineCharCount val=&quot;33&quot;/&gt;&lt;/TableIndex&gt;&lt;/ShapeText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27&quot;/&gt;&lt;lineCharCount val=&quot;33&quot;/&gt;&lt;lineCharCount val=&quot;26&quot;/&gt;&lt;/TableIndex&gt;&lt;/ShapeTextInfo&gt;"/>
  <p:tag name="PRESENTER_SHAPEINFO" val="&lt;ThreeDShapeInfo&gt;&lt;uuid val=&quot;{0EDE2EED-037D-42DB-86B4-E03C8F71EE26}&quot;/&gt;&lt;isInvalidForFieldText val=&quot;0&quot;/&gt;&lt;Image&gt;&lt;filename val=&quot;C:\Users\Jill\AppData\Local\Temp\PR\data\asimages\{0EDE2EED-037D-42DB-86B4-E03C8F71EE26}_85.png&quot;/&gt;&lt;left val=&quot;444&quot;/&gt;&lt;top val=&quot;12&quot;/&gt;&lt;width val=&quot;259&quot;/&gt;&lt;height val=&quot;73&quot;/&gt;&lt;hasText val=&quot;0&quot;/&gt;&lt;/Image&gt;&lt;/ThreeDShapeInfo&gt;"/>
</p:tagLst>
</file>

<file path=ppt/tags/tag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PRESENTER_SHAPEINFO" val="&lt;ThreeDShapeInfo&gt;&lt;uuid val=&quot;{05625CFB-FC6E-4FAA-A74F-48D13D92067C}&quot;/&gt;&lt;isInvalidForFieldText val=&quot;0&quot;/&gt;&lt;Image&gt;&lt;filename val=&quot;C:\Users\Jill\AppData\Local\Temp\PR\data\asimages\{05625CFB-FC6E-4FAA-A74F-48D13D92067C}_85.png&quot;/&gt;&lt;left val=&quot;126&quot;/&gt;&lt;top val=&quot;110&quot;/&gt;&lt;width val=&quot;451&quot;/&gt;&lt;height val=&quot;92&quot;/&gt;&lt;hasText val=&quot;1&quot;/&gt;&lt;/Image&gt;&lt;/ThreeDShapeInfo&gt;"/>
</p:tagLst>
</file>

<file path=ppt/tags/tag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34&quot;/&gt;&lt;lineCharCount val=&quot;31&quot;/&gt;&lt;lineCharCount val=&quot;22&quot;/&gt;&lt;/TableIndex&gt;&lt;/ShapeTextInfo&gt;"/>
  <p:tag name="PRESENTER_SHAPEINFO" val="&lt;ThreeDShapeInfo&gt;&lt;uuid val=&quot;{F763DA28-DC48-4124-86C9-3853B3412435}&quot;/&gt;&lt;isInvalidForFieldText val=&quot;0&quot;/&gt;&lt;Image&gt;&lt;filename val=&quot;C:\Users\Jill\AppData\Local\Temp\PR\data\asimages\{F763DA28-DC48-4124-86C9-3853B3412435}_85.png&quot;/&gt;&lt;left val=&quot;444&quot;/&gt;&lt;top val=&quot;20&quot;/&gt;&lt;width val=&quot;253&quot;/&gt;&lt;height val=&quot;73&quot;/&gt;&lt;hasText val=&quot;0&quot;/&gt;&lt;/Image&gt;&lt;/ThreeDShapeInfo&gt;"/>
</p:tagLst>
</file>

<file path=ppt/tags/tag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29&quot;/&gt;&lt;lineCharCount val=&quot;29&quot;/&gt;&lt;lineCharCount val=&quot;24&quot;/&gt;&lt;/TableIndex&gt;&lt;/ShapeTextInfo&gt;"/>
  <p:tag name="PRESENTER_SHAPEINFO" val="&lt;ThreeDShapeInfo&gt;&lt;uuid val=&quot;{A61612FB-7CB3-4428-B0B8-27568DC273E1}&quot;/&gt;&lt;isInvalidForFieldText val=&quot;0&quot;/&gt;&lt;Image&gt;&lt;filename val=&quot;C:\Users\Jill\AppData\Local\Temp\PR\data\asimages\{A61612FB-7CB3-4428-B0B8-27568DC273E1}_85.png&quot;/&gt;&lt;left val=&quot;439&quot;/&gt;&lt;top val=&quot;306&quot;/&gt;&lt;width val=&quot;275&quot;/&gt;&lt;height val=&quot;84&quot;/&gt;&lt;hasText val=&quot;0&quot;/&gt;&lt;/Image&gt;&lt;/ThreeDShapeInfo&gt;"/>
</p:tagLst>
</file>

<file path=ppt/tags/tag8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PRESENTER_SHAPEINFO" val="&lt;ThreeDShapeInfo&gt;&lt;uuid val=&quot;{30BD0CC4-2F31-46F2-9A12-A79174C8C640}&quot;/&gt;&lt;isInvalidForFieldText val=&quot;0&quot;/&gt;&lt;Image&gt;&lt;filename val=&quot;C:\Users\Jill\AppData\Local\Temp\PR\data\asimages\{30BD0CC4-2F31-46F2-9A12-A79174C8C640}_85.png&quot;/&gt;&lt;left val=&quot;535&quot;/&gt;&lt;top val=&quot;117&quot;/&gt;&lt;width val=&quot;63&quot;/&gt;&lt;height val=&quot;92&quot;/&gt;&lt;hasText val=&quot;1&quot;/&gt;&lt;/Image&gt;&lt;/ThreeDShapeInfo&gt;"/>
</p:tagLst>
</file>

<file path=ppt/tags/tag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PRESENTER_SHAPEINFO" val="&lt;ThreeDShapeInfo&gt;&lt;uuid val=&quot;{F356BBF3-E93D-47CF-A949-6DC9AA629D57}&quot;/&gt;&lt;isInvalidForFieldText val=&quot;0&quot;/&gt;&lt;Image&gt;&lt;filename val=&quot;C:\Users\Jill\AppData\Local\Temp\PR\data\asimages\{F356BBF3-E93D-47CF-A949-6DC9AA629D57}_85.png&quot;/&gt;&lt;left val=&quot;552&quot;/&gt;&lt;top val=&quot;107&quot;/&gt;&lt;width val=&quot;37&quot;/&gt;&lt;height val=&quot;33&quot;/&gt;&lt;hasText val=&quot;1&quot;/&gt;&lt;/Image&gt;&lt;/ThreeDShapeInfo&gt;"/>
</p:tagLst>
</file>

<file path=ppt/tags/tag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13&quot;/&gt;&lt;lineCharCount val=&quot;18&quot;/&gt;&lt;lineCharCount val=&quot;28&quot;/&gt;&lt;lineCharCount val=&quot;27&quot;/&gt;&lt;lineCharCount val=&quot;20&quot;/&gt;&lt;lineCharCount val=&quot;24&quot;/&gt;&lt;lineCharCount val=&quot;23&quot;/&gt;&lt;/TableIndex&gt;&lt;/ShapeTextInfo&gt;"/>
  <p:tag name="PRESENTER_SHAPEINFO" val="&lt;ThreeDShapeInfo&gt;&lt;uuid val=&quot;{B1A56370-1D55-4456-B5E4-A754CFE36CAF}&quot;/&gt;&lt;isInvalidForFieldText val=&quot;0&quot;/&gt;&lt;Image&gt;&lt;filename val=&quot;C:\Users\Jill\AppData\Local\Temp\PR\data\asimages\{B1A56370-1D55-4456-B5E4-A754CFE36CAF}_85.png&quot;/&gt;&lt;left val=&quot;438&quot;/&gt;&lt;top val=&quot;242&quot;/&gt;&lt;width val=&quot;275&quot;/&gt;&lt;height val=&quot;171&quot;/&gt;&lt;hasText val=&quot;0&quot;/&gt;&lt;/Image&gt;&lt;/ThreeDShapeInfo&gt;"/>
</p:tagLst>
</file>

<file path=ppt/tags/tag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1&quot;/&gt;&lt;lineCharCount val=&quot;11&quot;/&gt;&lt;lineCharCount val=&quot;11&quot;/&gt;&lt;/TableIndex&gt;&lt;/ShapeTextInfo&gt;"/>
  <p:tag name="PRESENTER_SHAPEINFO" val="&lt;ThreeDShapeInfo&gt;&lt;uuid val=&quot;{3C1598F5-F2B5-4DF9-A9E4-CF1562E66376}&quot;/&gt;&lt;isInvalidForFieldText val=&quot;0&quot;/&gt;&lt;Image&gt;&lt;filename val=&quot;C:\Users\Jill\AppData\Local\Temp\PR\data\asimages\{3C1598F5-F2B5-4DF9-A9E4-CF1562E66376}_85.png&quot;/&gt;&lt;left val=&quot;490&quot;/&gt;&lt;top val=&quot;282&quot;/&gt;&lt;width val=&quot;229&quot;/&gt;&lt;height val=&quot;176&quot;/&gt;&lt;hasText val=&quot;1&quot;/&gt;&lt;/Image&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90.xml><?xml version="1.0" encoding="utf-8"?>
<p:tagLst xmlns:a="http://schemas.openxmlformats.org/drawingml/2006/main" xmlns:r="http://schemas.openxmlformats.org/officeDocument/2006/relationships" xmlns:p="http://schemas.openxmlformats.org/presentationml/2006/main">
  <p:tag name="NOPREFERENCE" val="False"/>
</p:tagLst>
</file>

<file path=ppt/tags/tag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7&quot;/&gt;&lt;/TableIndex&gt;&lt;/ShapeTextInfo&gt;"/>
</p:tagLst>
</file>

<file path=ppt/tags/tag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32&quot;/&gt;&lt;lineCharCount val=&quot;29&quot;/&gt;&lt;/TableIndex&gt;&lt;/ShapeTextInfo&gt;"/>
</p:tagLst>
</file>

<file path=ppt/tags/tag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5&quot;/&gt;&lt;/TableIndex&gt;&lt;/ShapeTextInfo&gt;"/>
</p:tagLst>
</file>

<file path=ppt/theme/theme1.xml><?xml version="1.0" encoding="utf-8"?>
<a:theme xmlns:a="http://schemas.openxmlformats.org/drawingml/2006/main" name="Office Them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MCNBannerLogoPowerPointTemplate">
  <a:themeElements>
    <a:clrScheme name="MCNeNewsletter">
      <a:dk1>
        <a:srgbClr val="000000"/>
      </a:dk1>
      <a:lt1>
        <a:srgbClr val="FFFFFF"/>
      </a:lt1>
      <a:dk2>
        <a:srgbClr val="000000"/>
      </a:dk2>
      <a:lt2>
        <a:srgbClr val="DFDCB7"/>
      </a:lt2>
      <a:accent1>
        <a:srgbClr val="80A956"/>
      </a:accent1>
      <a:accent2>
        <a:srgbClr val="2B5485"/>
      </a:accent2>
      <a:accent3>
        <a:srgbClr val="D6A300"/>
      </a:accent3>
      <a:accent4>
        <a:srgbClr val="80A956"/>
      </a:accent4>
      <a:accent5>
        <a:srgbClr val="32629B"/>
      </a:accent5>
      <a:accent6>
        <a:srgbClr val="80A956"/>
      </a:accent6>
      <a:hlink>
        <a:srgbClr val="D25814"/>
      </a:hlink>
      <a:folHlink>
        <a:srgbClr val="849A0A"/>
      </a:folHlink>
    </a:clrScheme>
    <a:fontScheme name="1_MCNBannerLogoPowerPoint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1_MCNBannerLogoPowerPoint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MCNBannerLogoPowerPoin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MCNBannerLogoPowerPoint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MCNBannerLogoPowerPoint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MCNBannerLogoPowerPoint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MCNBannerLogoPowerPoint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MCNBannerLogoPowerPoint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MCNBannerLogoPowerPoint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MCNBannerLogoPowerPoint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MCNBannerLogoPowerPoint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MCNBannerLogoPowerPoint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MCNBannerLogoPowerPoint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1_Office Theme">
  <a:themeElements>
    <a:clrScheme name="Custom 2">
      <a:dk1>
        <a:srgbClr val="4C5059"/>
      </a:dk1>
      <a:lt1>
        <a:srgbClr val="FFFFFF"/>
      </a:lt1>
      <a:dk2>
        <a:srgbClr val="013563"/>
      </a:dk2>
      <a:lt2>
        <a:srgbClr val="D3D3D3"/>
      </a:lt2>
      <a:accent1>
        <a:srgbClr val="004B8D"/>
      </a:accent1>
      <a:accent2>
        <a:srgbClr val="02BFD0"/>
      </a:accent2>
      <a:accent3>
        <a:srgbClr val="BCC649"/>
      </a:accent3>
      <a:accent4>
        <a:srgbClr val="FDB128"/>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485</TotalTime>
  <Words>2668</Words>
  <Application>Microsoft Office PowerPoint</Application>
  <PresentationFormat>On-screen Show (4:3)</PresentationFormat>
  <Paragraphs>511</Paragraphs>
  <Slides>74</Slides>
  <Notes>1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4</vt:i4>
      </vt:variant>
    </vt:vector>
  </HeadingPairs>
  <TitlesOfParts>
    <vt:vector size="79" baseType="lpstr">
      <vt:lpstr>Office Theme</vt:lpstr>
      <vt:lpstr>2_MCNBannerLogoPowerPointTemplate</vt:lpstr>
      <vt:lpstr>11_Office Theme</vt:lpstr>
      <vt:lpstr>1_Office Theme</vt:lpstr>
      <vt:lpstr>think-cell Slide</vt:lpstr>
      <vt:lpstr>PowerPoint Presentation</vt:lpstr>
      <vt:lpstr>PowerPoint Presentation</vt:lpstr>
      <vt:lpstr>Following a Mobile Patient: 2015-2016</vt:lpstr>
      <vt:lpstr>PowerPoint Presentation</vt:lpstr>
      <vt:lpstr>PowerPoint Presentation</vt:lpstr>
      <vt:lpstr>PowerPoint Presentation</vt:lpstr>
      <vt:lpstr>PowerPoint Presentation</vt:lpstr>
      <vt:lpstr>Global Burden of TB, 2015 WHO Global TB Report, 2015</vt:lpstr>
      <vt:lpstr>2015 Tuberculosis Surpassed HIV as the Leading Cause of Death by Infectious Disease</vt:lpstr>
      <vt:lpstr>PowerPoint Presentation</vt:lpstr>
      <vt:lpstr>Estimated TB Burden, 2014 22 high burden countries*</vt:lpstr>
      <vt:lpstr>PowerPoint Presentation</vt:lpstr>
      <vt:lpstr>PowerPoint Presentation</vt:lpstr>
      <vt:lpstr>PowerPoint Presentation</vt:lpstr>
      <vt:lpstr>Ebola vs Tuberculosis  Which Disease is Greatest Risk for US</vt:lpstr>
      <vt:lpstr>Ebola Epidemic in West Africa            (Dec. 2013-March 201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ed TB Cases  United States, 1982–2015*</vt:lpstr>
      <vt:lpstr>PowerPoint Presentation</vt:lpstr>
      <vt:lpstr>What are the “Hidden Stats” on TB</vt:lpstr>
      <vt:lpstr>How Well Are We Doing with TB Contact Investigation?</vt:lpstr>
      <vt:lpstr>PowerPoint Presentation</vt:lpstr>
      <vt:lpstr>PowerPoint Presentation</vt:lpstr>
      <vt:lpstr>PowerPoint Presentation</vt:lpstr>
      <vt:lpstr>PowerPoint Presentation</vt:lpstr>
      <vt:lpstr>Cost of TB Treat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ationality TBNet 2005-2014</vt:lpstr>
      <vt:lpstr>Nationality TBNet 201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ims &amp; Popul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act Us</vt:lpstr>
      <vt:lpstr>PowerPoint Presentation</vt:lpstr>
    </vt:vector>
  </TitlesOfParts>
  <Company>Migrant Clinicians Networ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llian Hopewell</dc:creator>
  <cp:lastModifiedBy>Ed</cp:lastModifiedBy>
  <cp:revision>184</cp:revision>
  <dcterms:created xsi:type="dcterms:W3CDTF">2013-04-15T17:32:56Z</dcterms:created>
  <dcterms:modified xsi:type="dcterms:W3CDTF">2016-03-30T11:48:39Z</dcterms:modified>
</cp:coreProperties>
</file>